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heme/theme2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1" r:id="rId1"/>
  </p:sldMasterIdLst>
  <p:notesMasterIdLst>
    <p:notesMasterId r:id="rId13"/>
  </p:notesMasterIdLst>
  <p:sldIdLst>
    <p:sldId id="402" r:id="rId2"/>
    <p:sldId id="403" r:id="rId3"/>
    <p:sldId id="404" r:id="rId4"/>
    <p:sldId id="405" r:id="rId5"/>
    <p:sldId id="406" r:id="rId6"/>
    <p:sldId id="407" r:id="rId7"/>
    <p:sldId id="410" r:id="rId8"/>
    <p:sldId id="411" r:id="rId9"/>
    <p:sldId id="408" r:id="rId10"/>
    <p:sldId id="412" r:id="rId11"/>
    <p:sldId id="409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026" userDrawn="1">
          <p15:clr>
            <a:srgbClr val="A4A3A4"/>
          </p15:clr>
        </p15:guide>
        <p15:guide id="4" pos="211" userDrawn="1">
          <p15:clr>
            <a:srgbClr val="A4A3A4"/>
          </p15:clr>
        </p15:guide>
        <p15:guide id="5" pos="5654" userDrawn="1">
          <p15:clr>
            <a:srgbClr val="A4A3A4"/>
          </p15:clr>
        </p15:guide>
        <p15:guide id="6" pos="6562" userDrawn="1">
          <p15:clr>
            <a:srgbClr val="A4A3A4"/>
          </p15:clr>
        </p15:guide>
        <p15:guide id="7" pos="7469" userDrawn="1">
          <p15:clr>
            <a:srgbClr val="A4A3A4"/>
          </p15:clr>
        </p15:guide>
        <p15:guide id="8" orient="horz" pos="1956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orient="horz" pos="1049" userDrawn="1">
          <p15:clr>
            <a:srgbClr val="A4A3A4"/>
          </p15:clr>
        </p15:guide>
        <p15:guide id="11" orient="horz" pos="187" userDrawn="1">
          <p15:clr>
            <a:srgbClr val="A4A3A4"/>
          </p15:clr>
        </p15:guide>
        <p15:guide id="12" orient="horz" pos="4133" userDrawn="1">
          <p15:clr>
            <a:srgbClr val="A4A3A4"/>
          </p15:clr>
        </p15:guide>
        <p15:guide id="13" orient="horz" pos="3067" userDrawn="1">
          <p15:clr>
            <a:srgbClr val="A4A3A4"/>
          </p15:clr>
        </p15:guide>
        <p15:guide id="14" pos="4044" userDrawn="1">
          <p15:clr>
            <a:srgbClr val="A4A3A4"/>
          </p15:clr>
        </p15:guide>
        <p15:guide id="15" pos="3636" userDrawn="1">
          <p15:clr>
            <a:srgbClr val="A4A3A4"/>
          </p15:clr>
        </p15:guide>
        <p15:guide id="16" orient="horz" pos="2364" userDrawn="1">
          <p15:clr>
            <a:srgbClr val="A4A3A4"/>
          </p15:clr>
        </p15:guide>
        <p15:guide id="17" orient="horz" pos="867" userDrawn="1">
          <p15:clr>
            <a:srgbClr val="A4A3A4"/>
          </p15:clr>
        </p15:guide>
        <p15:guide id="18" orient="horz" pos="1781">
          <p15:clr>
            <a:srgbClr val="A4A3A4"/>
          </p15:clr>
        </p15:guide>
        <p15:guide id="19" orient="horz" pos="2161">
          <p15:clr>
            <a:srgbClr val="A4A3A4"/>
          </p15:clr>
        </p15:guide>
        <p15:guide id="20" orient="horz" pos="3068">
          <p15:clr>
            <a:srgbClr val="A4A3A4"/>
          </p15:clr>
        </p15:guide>
        <p15:guide id="21" pos="6561">
          <p15:clr>
            <a:srgbClr val="A4A3A4"/>
          </p15:clr>
        </p15:guide>
        <p15:guide id="22" orient="horz" pos="1078">
          <p15:clr>
            <a:srgbClr val="A4A3A4"/>
          </p15:clr>
        </p15:guide>
        <p15:guide id="23" orient="horz" pos="3240">
          <p15:clr>
            <a:srgbClr val="A4A3A4"/>
          </p15:clr>
        </p15:guide>
        <p15:guide id="24" orient="horz" pos="43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2420"/>
    <a:srgbClr val="C50E20"/>
    <a:srgbClr val="EB6E98"/>
    <a:srgbClr val="BA6F8D"/>
    <a:srgbClr val="E95D0E"/>
    <a:srgbClr val="F49754"/>
    <a:srgbClr val="A6A6A6"/>
    <a:srgbClr val="D9D9D9"/>
    <a:srgbClr val="730F1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9257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1092" y="90"/>
      </p:cViewPr>
      <p:guideLst>
        <p:guide orient="horz" pos="2160"/>
        <p:guide pos="3840"/>
        <p:guide pos="2026"/>
        <p:guide pos="211"/>
        <p:guide pos="5654"/>
        <p:guide pos="6562"/>
        <p:guide pos="7469"/>
        <p:guide orient="horz" pos="1956"/>
        <p:guide orient="horz" pos="1253"/>
        <p:guide orient="horz" pos="1049"/>
        <p:guide orient="horz" pos="187"/>
        <p:guide orient="horz" pos="4133"/>
        <p:guide orient="horz" pos="3067"/>
        <p:guide pos="4044"/>
        <p:guide pos="3636"/>
        <p:guide orient="horz" pos="2364"/>
        <p:guide orient="horz" pos="867"/>
        <p:guide orient="horz" pos="1781"/>
        <p:guide orient="horz" pos="2161"/>
        <p:guide orient="horz" pos="3068"/>
        <p:guide pos="6561"/>
        <p:guide orient="horz" pos="1078"/>
        <p:guide orient="horz" pos="3240"/>
        <p:guide orient="horz" pos="43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-337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7499A7-21A2-4277-82F1-6BE663504107}" type="datetimeFigureOut">
              <a:rPr lang="de-AT" smtClean="0"/>
              <a:t>04.10.2019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115E73-05B1-4496-9704-F3A0FFC6172D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144739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9.xml"/><Relationship Id="rId7" Type="http://schemas.openxmlformats.org/officeDocument/2006/relationships/oleObject" Target="../embeddings/oleObject19.bin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40.xml"/><Relationship Id="rId9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ohne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2299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314373"/>
            <a:ext cx="7972275" cy="877163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bei Bedarf auch 2-zeilig</a:t>
            </a:r>
            <a:endParaRPr lang="de-AT" dirty="0"/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3430588"/>
            <a:ext cx="12192941" cy="342741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grpSp>
        <p:nvGrpSpPr>
          <p:cNvPr id="97" name="Gruppieren 96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55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5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25195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seite 1 rot">
    <p:bg>
      <p:bgPr>
        <a:solidFill>
          <a:srgbClr val="6465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561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-1"/>
            <a:ext cx="6096001" cy="68580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 hasCustomPrompt="1"/>
          </p:nvPr>
        </p:nvSpPr>
        <p:spPr>
          <a:xfrm>
            <a:off x="6419850" y="3209709"/>
            <a:ext cx="5437187" cy="43858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seite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grpSp>
        <p:nvGrpSpPr>
          <p:cNvPr id="78" name="Gruppieren 77"/>
          <p:cNvGrpSpPr>
            <a:grpSpLocks noChangeAspect="1"/>
          </p:cNvGrpSpPr>
          <p:nvPr userDrawn="1"/>
        </p:nvGrpSpPr>
        <p:grpSpPr>
          <a:xfrm>
            <a:off x="10410826" y="319028"/>
            <a:ext cx="1440000" cy="363419"/>
            <a:chOff x="4684298" y="683364"/>
            <a:chExt cx="2507933" cy="632937"/>
          </a:xfrm>
          <a:solidFill>
            <a:schemeClr val="bg1"/>
          </a:solidFill>
        </p:grpSpPr>
        <p:sp>
          <p:nvSpPr>
            <p:cNvPr id="79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5465253" y="783758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5705758" y="786044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5938074" y="783948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6153149" y="786044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6380987" y="786044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6628065" y="786044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6973918" y="786044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6719504" y="783758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5457538" y="1050077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5630988" y="1051315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6825804" y="1051696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6429374" y="1050172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5813582" y="1050172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6012274" y="1051696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6225729" y="1051696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6627017" y="1051505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5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7030306" y="1050077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4684298" y="697176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4692680" y="683364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340814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2 gr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8824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-1" y="1376364"/>
            <a:ext cx="12192000" cy="5481636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334962" y="6621080"/>
            <a:ext cx="5437188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 hasCustomPrompt="1"/>
          </p:nvPr>
        </p:nvSpPr>
        <p:spPr>
          <a:xfrm>
            <a:off x="6419850" y="3897891"/>
            <a:ext cx="5437187" cy="43858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dirty="0"/>
              <a:t>Zwischenseite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376364"/>
            <a:ext cx="6096001" cy="5481636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5726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325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376364"/>
            <a:ext cx="6096001" cy="5481636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 hasCustomPrompt="1"/>
          </p:nvPr>
        </p:nvSpPr>
        <p:spPr>
          <a:xfrm>
            <a:off x="6096000" y="1376363"/>
            <a:ext cx="6096000" cy="5481636"/>
          </a:xfrm>
          <a:solidFill>
            <a:srgbClr val="646567"/>
          </a:solidFill>
        </p:spPr>
        <p:txBody>
          <a:bodyPr lIns="324000" bIns="75600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seite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2" name="Bildplatzhalter 9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399897" y="3430588"/>
            <a:ext cx="714377" cy="679294"/>
          </a:xfr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241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31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0"/>
            <a:ext cx="6096001" cy="68580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963" y="2990419"/>
            <a:ext cx="5437188" cy="87716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55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10410826" y="319029"/>
            <a:ext cx="1440000" cy="363418"/>
          </a:xfr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3777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3528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1376363"/>
            <a:ext cx="6096001" cy="5481637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963" y="2990419"/>
            <a:ext cx="5437188" cy="87716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65155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5 gr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7174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-1" y="1376364"/>
            <a:ext cx="12192000" cy="5481636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1376363"/>
            <a:ext cx="6096001" cy="5481637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963" y="2990419"/>
            <a:ext cx="5437188" cy="87716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24881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5 ro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16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-1" y="1376364"/>
            <a:ext cx="12192000" cy="54816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1376363"/>
            <a:ext cx="6096001" cy="5481637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963" y="2990419"/>
            <a:ext cx="5437188" cy="877163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79706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5 dunkelgr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647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-1" y="1376364"/>
            <a:ext cx="12192000" cy="5481636"/>
          </a:xfrm>
          <a:prstGeom prst="rect">
            <a:avLst/>
          </a:prstGeom>
          <a:solidFill>
            <a:srgbClr val="64656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1376363"/>
            <a:ext cx="6096001" cy="5481637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963" y="2990419"/>
            <a:ext cx="5437188" cy="877163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44572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593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E520E8-5998-49DE-A39A-5FD5383D33DF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dirty="0"/>
              <a:t>Template Austrian Standards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EACADD20-EBFF-4918-B6DC-3B865311646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3524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4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graphicFrame>
        <p:nvGraphicFramePr>
          <p:cNvPr id="15" name="Objekt 14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39749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5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34963" y="1923733"/>
            <a:ext cx="10080626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253361"/>
            <a:ext cx="10080626" cy="307777"/>
          </a:xfrm>
        </p:spPr>
        <p:txBody>
          <a:bodyPr anchor="b"/>
          <a:lstStyle>
            <a:lvl1pPr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Quelle: XXX</a:t>
            </a:r>
          </a:p>
        </p:txBody>
      </p:sp>
    </p:spTree>
    <p:extLst>
      <p:ext uri="{BB962C8B-B14F-4D97-AF65-F5344CB8AC3E}">
        <p14:creationId xmlns:p14="http://schemas.microsoft.com/office/powerpoint/2010/main" val="1877523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200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0" y="1989138"/>
            <a:ext cx="12192941" cy="486886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C9046-A480-42E8-B851-9AC156C12F4E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34963" y="2225656"/>
            <a:ext cx="10080626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253361"/>
            <a:ext cx="10080626" cy="307777"/>
          </a:xfrm>
        </p:spPr>
        <p:txBody>
          <a:bodyPr anchor="b"/>
          <a:lstStyle>
            <a:lvl1pPr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) Fußnote</a:t>
            </a:r>
            <a:br>
              <a:rPr lang="de-DE" dirty="0"/>
            </a:br>
            <a:r>
              <a:rPr lang="de-DE" dirty="0"/>
              <a:t>Quelle: XXX</a:t>
            </a:r>
          </a:p>
        </p:txBody>
      </p:sp>
    </p:spTree>
    <p:extLst>
      <p:ext uri="{BB962C8B-B14F-4D97-AF65-F5344CB8AC3E}">
        <p14:creationId xmlns:p14="http://schemas.microsoft.com/office/powerpoint/2010/main" val="2656747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Sublin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533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314373"/>
            <a:ext cx="7972275" cy="877163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bei Bedarf auch 2-zeilig</a:t>
            </a:r>
            <a:endParaRPr lang="de-AT" dirty="0"/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3430588"/>
            <a:ext cx="12192941" cy="3427412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4" y="3686537"/>
            <a:ext cx="7972275" cy="9233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 err="1"/>
              <a:t>Sublines</a:t>
            </a:r>
            <a:endParaRPr lang="de-AT" dirty="0"/>
          </a:p>
          <a:p>
            <a:pPr lvl="0"/>
            <a:r>
              <a:rPr lang="de-AT" dirty="0"/>
              <a:t>Ergänzende Textzeilen zur Headline</a:t>
            </a:r>
          </a:p>
          <a:p>
            <a:pPr lvl="0"/>
            <a:r>
              <a:rPr lang="de-AT" dirty="0"/>
              <a:t>Empfehlung maximal drei bis vier Zeilen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13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9630094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1883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EEC90B-47D4-4314-9C06-64CA4E51ADE3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34962" y="1923733"/>
            <a:ext cx="5437187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6419852" y="1923733"/>
            <a:ext cx="5437187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18600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6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1369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989138"/>
            <a:ext cx="6096001" cy="4868861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9C248-9572-41ED-A71C-858536832AB4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6419852" y="1923733"/>
            <a:ext cx="5437187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737988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+ Text auf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7270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-1" y="1989137"/>
            <a:ext cx="12192000" cy="486886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989138"/>
            <a:ext cx="6096001" cy="4868861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0DEA7-B046-4B90-A552-3F16004F3019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334962" y="6621080"/>
            <a:ext cx="5437188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419852" y="2229871"/>
            <a:ext cx="5437187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67466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to links + Text auf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-1" y="1989137"/>
            <a:ext cx="12192000" cy="486886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989138"/>
            <a:ext cx="6096001" cy="4868861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80DEA7-B046-4B90-A552-3F16004F3019}" type="datetime1">
              <a:rPr lang="de-AT" smtClean="0"/>
              <a:pPr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334962" y="6621080"/>
            <a:ext cx="5437188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419852" y="2229871"/>
            <a:ext cx="5437187" cy="15388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787149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to links + Text auf Dunkel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-1" y="1989137"/>
            <a:ext cx="12192000" cy="4868862"/>
          </a:xfrm>
          <a:prstGeom prst="rect">
            <a:avLst/>
          </a:prstGeom>
          <a:solidFill>
            <a:srgbClr val="64656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989138"/>
            <a:ext cx="6096001" cy="4868861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80DEA7-B046-4B90-A552-3F16004F3019}" type="datetime1">
              <a:rPr lang="de-AT" smtClean="0"/>
              <a:pPr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334962" y="6621080"/>
            <a:ext cx="5437188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419852" y="2229871"/>
            <a:ext cx="5437187" cy="15388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533822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recht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373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1989138"/>
            <a:ext cx="6096001" cy="4868861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40F92-4EC9-448F-9342-622C04458604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334962" y="1923733"/>
            <a:ext cx="5437187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402341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rechts + Text auf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873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-1" y="1989137"/>
            <a:ext cx="12192000" cy="486886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1989138"/>
            <a:ext cx="6096001" cy="4868861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D317A7B-5218-4A87-87B5-AF18697D5444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34962" y="2229871"/>
            <a:ext cx="5437187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823127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to rechts + Text auf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-1" y="1989137"/>
            <a:ext cx="12192000" cy="486886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1989138"/>
            <a:ext cx="6096001" cy="4868861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D317A7B-5218-4A87-87B5-AF18697D5444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34962" y="2229871"/>
            <a:ext cx="5437187" cy="15388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811738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to rechts + Text auf dunkel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-1" y="1989137"/>
            <a:ext cx="12192000" cy="4868862"/>
          </a:xfrm>
          <a:prstGeom prst="rect">
            <a:avLst/>
          </a:prstGeom>
          <a:solidFill>
            <a:srgbClr val="64656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1989138"/>
            <a:ext cx="6096001" cy="4868861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D317A7B-5218-4A87-87B5-AF18697D5444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34962" y="2229871"/>
            <a:ext cx="5437187" cy="1538883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397654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746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430588"/>
            <a:ext cx="12192941" cy="342741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441FE-FFDC-4D2E-A19C-038F26DB9E45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34963" y="1923733"/>
            <a:ext cx="10080626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466090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Subline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36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314373"/>
            <a:ext cx="7972275" cy="877163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bei Bedarf auch 2-zeilig</a:t>
            </a:r>
            <a:endParaRPr lang="de-AT" dirty="0"/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3430588"/>
            <a:ext cx="12192941" cy="342741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772150" y="3686400"/>
            <a:ext cx="6084888" cy="923330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 err="1"/>
              <a:t>Sublines</a:t>
            </a:r>
            <a:endParaRPr lang="de-AT" dirty="0"/>
          </a:p>
          <a:p>
            <a:pPr lvl="0"/>
            <a:r>
              <a:rPr lang="de-AT" dirty="0"/>
              <a:t>Ergänzende Textzeilen zur Headline</a:t>
            </a:r>
          </a:p>
          <a:p>
            <a:pPr lvl="0"/>
            <a:r>
              <a:rPr lang="de-AT" dirty="0"/>
              <a:t>Empfehlung maximal drei bis vier Zeilen</a:t>
            </a: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11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38331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mit Aufzählu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780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3" name="Medienplatzhalter 2"/>
          <p:cNvSpPr>
            <a:spLocks noGrp="1" noChangeAspect="1"/>
          </p:cNvSpPr>
          <p:nvPr>
            <p:ph type="media" sz="quarter" idx="14" hasCustomPrompt="1"/>
          </p:nvPr>
        </p:nvSpPr>
        <p:spPr>
          <a:xfrm>
            <a:off x="0" y="1715400"/>
            <a:ext cx="6096001" cy="34272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E8425ED-1655-450B-AB39-725A1679B927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>
          <a:xfrm>
            <a:off x="6096001" y="1715400"/>
            <a:ext cx="6096000" cy="3427200"/>
          </a:xfrm>
          <a:solidFill>
            <a:schemeClr val="accent1"/>
          </a:solidFill>
        </p:spPr>
        <p:txBody>
          <a:bodyPr lIns="324000" tIns="216000" rIns="324000" bIns="324000">
            <a:noAutofit/>
          </a:bodyPr>
          <a:lstStyle>
            <a:lvl1pPr marL="266700" indent="-266700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534988" indent="-268288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801688" indent="-266700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077913" indent="-276225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346200" indent="-268288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165422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ation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7409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1989138"/>
            <a:ext cx="12192941" cy="486886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34963" y="1304360"/>
            <a:ext cx="5437188" cy="43858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6096000" y="0"/>
            <a:ext cx="3809999" cy="6858000"/>
          </a:xfrm>
          <a:solidFill>
            <a:schemeClr val="accent1">
              <a:alpha val="85000"/>
            </a:schemeClr>
          </a:solidFill>
        </p:spPr>
        <p:txBody>
          <a:bodyPr lIns="324000" tIns="2224800" rIns="324000">
            <a:noAutofit/>
          </a:bodyPr>
          <a:lstStyle>
            <a:lvl1pPr marL="266700" indent="-266700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533400" indent="-266700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812800" indent="-279400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1079500" indent="-266700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1346200" indent="-266700">
              <a:spcBef>
                <a:spcPts val="600"/>
              </a:spcBef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088031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ation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239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4" name="Bildplatzhalter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3430588"/>
            <a:ext cx="12192941" cy="342741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6419850" y="2470410"/>
            <a:ext cx="5437188" cy="43858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2286000" y="0"/>
            <a:ext cx="3810000" cy="6858000"/>
          </a:xfrm>
          <a:solidFill>
            <a:schemeClr val="accent1">
              <a:alpha val="85000"/>
            </a:schemeClr>
          </a:solidFill>
        </p:spPr>
        <p:txBody>
          <a:bodyPr lIns="324000" tIns="2052000" rIns="324000">
            <a:noAutofit/>
          </a:bodyPr>
          <a:lstStyle>
            <a:lvl1pPr marL="266700" indent="-266700">
              <a:spcBef>
                <a:spcPts val="600"/>
              </a:spcBef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 marL="534988" indent="-268288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801688" indent="-268288">
              <a:spcBef>
                <a:spcPts val="600"/>
              </a:spcBef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 marL="1077913" indent="-265113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1346200" indent="-266700">
              <a:spcBef>
                <a:spcPts val="600"/>
              </a:spcBef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855976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2 Grafi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024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19852" y="3430588"/>
            <a:ext cx="5772149" cy="342741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30588"/>
            <a:ext cx="5772149" cy="342741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3AF7EA-F3DE-4657-8D0C-C822C9A19E80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34963" y="1923733"/>
            <a:ext cx="10080626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332528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spaltig und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02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5143500"/>
            <a:ext cx="12192000" cy="1714499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EEC90B-47D4-4314-9C06-64CA4E51ADE3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34962" y="1923733"/>
            <a:ext cx="5437187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6419852" y="1923733"/>
            <a:ext cx="5437187" cy="176371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73818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67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+ Aufzählung auf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3764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-1" y="1989137"/>
            <a:ext cx="12192000" cy="486886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989138"/>
            <a:ext cx="6096001" cy="4868861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D4B3A-3435-475F-8708-FDD92932E006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334962" y="6621080"/>
            <a:ext cx="5437188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419852" y="2229871"/>
            <a:ext cx="5437187" cy="1538883"/>
          </a:xfrm>
        </p:spPr>
        <p:txBody>
          <a:bodyPr/>
          <a:lstStyle>
            <a:lvl1pPr marL="266700" indent="-266700">
              <a:buFont typeface="+mj-lt"/>
              <a:buAutoNum type="arabicPeriod"/>
              <a:defRPr/>
            </a:lvl1pPr>
            <a:lvl2pPr marL="534988" indent="-268288">
              <a:buFont typeface="+mj-lt"/>
              <a:buAutoNum type="arabicPeriod"/>
              <a:defRPr/>
            </a:lvl2pPr>
            <a:lvl3pPr marL="801688" indent="-266700">
              <a:buFont typeface="+mj-lt"/>
              <a:buAutoNum type="arabicPeriod"/>
              <a:defRPr/>
            </a:lvl3pPr>
            <a:lvl4pPr marL="1077913" indent="-276225">
              <a:buFont typeface="+mj-lt"/>
              <a:buAutoNum type="arabicPeriod"/>
              <a:defRPr/>
            </a:lvl4pPr>
            <a:lvl5pPr marL="1346200" indent="-268288">
              <a:buFont typeface="+mj-lt"/>
              <a:buAutoNum type="arabicPeriod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030068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mit Headline rech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5538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 hasCustomPrompt="1"/>
          </p:nvPr>
        </p:nvSpPr>
        <p:spPr>
          <a:xfrm>
            <a:off x="6096000" y="1715400"/>
            <a:ext cx="6096000" cy="3427200"/>
          </a:xfrm>
          <a:solidFill>
            <a:srgbClr val="646567"/>
          </a:solidFill>
        </p:spPr>
        <p:txBody>
          <a:bodyPr lIns="32400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3" name="Medienplatzhalter 2"/>
          <p:cNvSpPr>
            <a:spLocks noGrp="1" noChangeAspect="1"/>
          </p:cNvSpPr>
          <p:nvPr>
            <p:ph type="media" sz="quarter" idx="14" hasCustomPrompt="1"/>
          </p:nvPr>
        </p:nvSpPr>
        <p:spPr>
          <a:xfrm>
            <a:off x="0" y="1715400"/>
            <a:ext cx="6096001" cy="34272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88B4D68-40FC-4336-9734-EEE41F8D5DD5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1624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mit Headline link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021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 hasCustomPrompt="1"/>
          </p:nvPr>
        </p:nvSpPr>
        <p:spPr>
          <a:xfrm>
            <a:off x="0" y="1715400"/>
            <a:ext cx="6096000" cy="3427200"/>
          </a:xfrm>
          <a:solidFill>
            <a:srgbClr val="646567"/>
          </a:solidFill>
        </p:spPr>
        <p:txBody>
          <a:bodyPr lIns="324000" bIns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3" name="Medienplatzhalter 2"/>
          <p:cNvSpPr>
            <a:spLocks noGrp="1" noChangeAspect="1"/>
          </p:cNvSpPr>
          <p:nvPr>
            <p:ph type="media" sz="quarter" idx="14" hasCustomPrompt="1"/>
          </p:nvPr>
        </p:nvSpPr>
        <p:spPr>
          <a:xfrm>
            <a:off x="6095999" y="1715400"/>
            <a:ext cx="6096001" cy="34272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88B4D68-40FC-4336-9734-EEE41F8D5DD5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39370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mit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726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3" name="Medienplatzhalter 2"/>
          <p:cNvSpPr>
            <a:spLocks noGrp="1" noChangeAspect="1"/>
          </p:cNvSpPr>
          <p:nvPr>
            <p:ph type="media" sz="quarter" idx="14" hasCustomPrompt="1"/>
          </p:nvPr>
        </p:nvSpPr>
        <p:spPr>
          <a:xfrm>
            <a:off x="0" y="1714500"/>
            <a:ext cx="6096001" cy="34272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DCEF766-82C0-49F9-9EDC-8F69144B57E3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>
          <a:xfrm>
            <a:off x="6096001" y="1714500"/>
            <a:ext cx="6096000" cy="3427200"/>
          </a:xfrm>
          <a:solidFill>
            <a:srgbClr val="646567"/>
          </a:solidFill>
        </p:spPr>
        <p:txBody>
          <a:bodyPr lIns="324000" tIns="216000" rIns="324000" bIns="32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72967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ations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4867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989137"/>
            <a:ext cx="12192001" cy="34272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F4A94D-9246-48BF-A459-B085D8454F11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334962" y="6621080"/>
            <a:ext cx="5437188" cy="184666"/>
          </a:xfrm>
        </p:spPr>
        <p:txBody>
          <a:bodyPr/>
          <a:lstStyle>
            <a:lvl1pPr>
              <a:defRPr>
                <a:solidFill>
                  <a:srgbClr val="7B7C7E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-1" y="1989137"/>
            <a:ext cx="6096001" cy="3427200"/>
          </a:xfrm>
          <a:solidFill>
            <a:srgbClr val="7B7C7E">
              <a:alpha val="75000"/>
            </a:srgbClr>
          </a:solidFill>
        </p:spPr>
        <p:txBody>
          <a:bodyPr lIns="324000" tIns="241200">
            <a:noAutofit/>
          </a:bodyPr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44458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3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Subline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730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314373"/>
            <a:ext cx="7972275" cy="877163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bei Bedarf auch 2-zeilig</a:t>
            </a:r>
            <a:endParaRPr lang="de-AT" dirty="0"/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3430588"/>
            <a:ext cx="12192941" cy="342741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00569" y="3364468"/>
            <a:ext cx="5571581" cy="1032384"/>
          </a:xfrm>
          <a:solidFill>
            <a:schemeClr val="bg1"/>
          </a:solidFill>
        </p:spPr>
        <p:txBody>
          <a:bodyPr lIns="126000" rIns="126000" bIns="108000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 err="1"/>
              <a:t>Sublines</a:t>
            </a:r>
            <a:endParaRPr lang="de-AT" dirty="0"/>
          </a:p>
          <a:p>
            <a:pPr lvl="0"/>
            <a:r>
              <a:rPr lang="de-AT" dirty="0"/>
              <a:t>Ergänzende Textzeilen zur Headline</a:t>
            </a:r>
          </a:p>
          <a:p>
            <a:pPr lvl="0"/>
            <a:r>
              <a:rPr lang="de-AT" dirty="0"/>
              <a:t>Empfehlung maximal drei bis vier Zeilen</a:t>
            </a:r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12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2393752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ationsfol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7639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-1" y="1989137"/>
            <a:ext cx="12192000" cy="4868863"/>
          </a:xfrm>
          <a:prstGeom prst="rect">
            <a:avLst/>
          </a:prstGeom>
          <a:solidFill>
            <a:srgbClr val="64656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095999" y="1989137"/>
            <a:ext cx="6096002" cy="4868863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8B14DC-F5C9-4D54-982B-AC746C40BF88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34962" y="2229871"/>
            <a:ext cx="5437187" cy="1846659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516353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1 mi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24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752954"/>
            <a:ext cx="7972275" cy="438582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Danke.</a:t>
            </a:r>
            <a:endParaRPr lang="de-AT" dirty="0"/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3430588"/>
            <a:ext cx="12192941" cy="342741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13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7531632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1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5081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0" y="3430588"/>
            <a:ext cx="12192941" cy="342741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752954"/>
            <a:ext cx="7972275" cy="438582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Danke.</a:t>
            </a:r>
            <a:endParaRPr lang="de-AT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13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</p:spTree>
    <p:extLst>
      <p:ext uri="{BB962C8B-B14F-4D97-AF65-F5344CB8AC3E}">
        <p14:creationId xmlns:p14="http://schemas.microsoft.com/office/powerpoint/2010/main" val="3890918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1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789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0" y="3430588"/>
            <a:ext cx="12192941" cy="3427412"/>
          </a:xfrm>
          <a:prstGeom prst="rect">
            <a:avLst/>
          </a:prstGeom>
          <a:solidFill>
            <a:srgbClr val="64656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752954"/>
            <a:ext cx="7972275" cy="438582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Danke.</a:t>
            </a:r>
            <a:endParaRPr lang="de-AT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13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</p:spTree>
    <p:extLst>
      <p:ext uri="{BB962C8B-B14F-4D97-AF65-F5344CB8AC3E}">
        <p14:creationId xmlns:p14="http://schemas.microsoft.com/office/powerpoint/2010/main" val="31319905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3 mi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19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51" name="Bildplatzhalter 9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3430588"/>
            <a:ext cx="12192941" cy="3427412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752954"/>
            <a:ext cx="7972275" cy="438582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Danke.</a:t>
            </a:r>
            <a:endParaRPr lang="de-AT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13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8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  <p:sp>
        <p:nvSpPr>
          <p:cNvPr id="8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377407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  <p:sp>
        <p:nvSpPr>
          <p:cNvPr id="8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419850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</p:spTree>
    <p:extLst>
      <p:ext uri="{BB962C8B-B14F-4D97-AF65-F5344CB8AC3E}">
        <p14:creationId xmlns:p14="http://schemas.microsoft.com/office/powerpoint/2010/main" val="25170388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3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64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0" y="3430588"/>
            <a:ext cx="12192941" cy="342741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752954"/>
            <a:ext cx="7972275" cy="438582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Danke.</a:t>
            </a:r>
            <a:endParaRPr lang="de-AT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13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8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  <p:sp>
        <p:nvSpPr>
          <p:cNvPr id="8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377407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  <p:sp>
        <p:nvSpPr>
          <p:cNvPr id="8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419850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</p:spTree>
    <p:extLst>
      <p:ext uri="{BB962C8B-B14F-4D97-AF65-F5344CB8AC3E}">
        <p14:creationId xmlns:p14="http://schemas.microsoft.com/office/powerpoint/2010/main" val="8747642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seite 3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90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0" y="3430588"/>
            <a:ext cx="12192941" cy="3427412"/>
          </a:xfrm>
          <a:prstGeom prst="rect">
            <a:avLst/>
          </a:prstGeom>
          <a:solidFill>
            <a:srgbClr val="64656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752954"/>
            <a:ext cx="7972275" cy="438582"/>
          </a:xfrm>
        </p:spPr>
        <p:txBody>
          <a:bodyPr anchor="b"/>
          <a:lstStyle>
            <a:lvl1pPr algn="l">
              <a:defRPr sz="3000"/>
            </a:lvl1pPr>
          </a:lstStyle>
          <a:p>
            <a:r>
              <a:rPr lang="de-DE" dirty="0"/>
              <a:t>Danke.</a:t>
            </a:r>
            <a:endParaRPr lang="de-AT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977816" y="2118492"/>
            <a:ext cx="2870988" cy="1021580"/>
            <a:chOff x="8727786" y="927871"/>
            <a:chExt cx="2507933" cy="892395"/>
          </a:xfrm>
        </p:grpSpPr>
        <p:sp>
          <p:nvSpPr>
            <p:cNvPr id="13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84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  <p:sp>
        <p:nvSpPr>
          <p:cNvPr id="85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377407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  <p:sp>
        <p:nvSpPr>
          <p:cNvPr id="8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419850" y="3714972"/>
            <a:ext cx="2916000" cy="2369880"/>
          </a:xfrm>
        </p:spPr>
        <p:txBody>
          <a:bodyPr/>
          <a:lstStyle>
            <a:lvl1pPr>
              <a:lnSpc>
                <a:spcPct val="100000"/>
              </a:lnSpc>
              <a:tabLst>
                <a:tab pos="223838" algn="l"/>
              </a:tabLst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Name</a:t>
            </a:r>
            <a:br>
              <a:rPr lang="de-AT" dirty="0"/>
            </a:br>
            <a:r>
              <a:rPr lang="de-AT" dirty="0"/>
              <a:t>Position</a:t>
            </a:r>
            <a:br>
              <a:rPr lang="de-AT" dirty="0"/>
            </a:br>
            <a:r>
              <a:rPr lang="de-AT" dirty="0"/>
              <a:t/>
            </a:r>
            <a:br>
              <a:rPr lang="de-AT" dirty="0"/>
            </a:br>
            <a:r>
              <a:rPr lang="de-DE" b="1" dirty="0"/>
              <a:t>Firma</a:t>
            </a:r>
            <a:br>
              <a:rPr lang="de-DE" b="1" dirty="0"/>
            </a:br>
            <a:r>
              <a:rPr lang="de-DE" dirty="0"/>
              <a:t>Adresszeile 1</a:t>
            </a:r>
            <a:br>
              <a:rPr lang="de-DE" dirty="0"/>
            </a:br>
            <a:r>
              <a:rPr lang="de-DE" dirty="0"/>
              <a:t>Adresszeile 2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T:	XXX</a:t>
            </a:r>
            <a:br>
              <a:rPr lang="de-DE" dirty="0"/>
            </a:br>
            <a:r>
              <a:rPr lang="de-DE" dirty="0"/>
              <a:t>F: 	XXX</a:t>
            </a:r>
            <a:br>
              <a:rPr lang="de-DE" dirty="0"/>
            </a:br>
            <a:r>
              <a:rPr lang="de-DE" dirty="0"/>
              <a:t>M:	XXX</a:t>
            </a:r>
            <a:br>
              <a:rPr lang="de-DE" dirty="0"/>
            </a:br>
            <a:r>
              <a:rPr lang="de-DE" dirty="0"/>
              <a:t>E:	XXX</a:t>
            </a:r>
          </a:p>
        </p:txBody>
      </p:sp>
    </p:spTree>
    <p:extLst>
      <p:ext uri="{BB962C8B-B14F-4D97-AF65-F5344CB8AC3E}">
        <p14:creationId xmlns:p14="http://schemas.microsoft.com/office/powerpoint/2010/main" val="16256896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Foto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4035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12192941" cy="68580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314373"/>
            <a:ext cx="7972275" cy="877163"/>
          </a:xfrm>
        </p:spPr>
        <p:txBody>
          <a:bodyPr anchor="b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bei Bedarf auch 2-zeilig</a:t>
            </a:r>
            <a:endParaRPr lang="de-AT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4" y="3686400"/>
            <a:ext cx="7972275" cy="9233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 err="1"/>
              <a:t>Sublines</a:t>
            </a:r>
            <a:endParaRPr lang="de-AT" dirty="0"/>
          </a:p>
          <a:p>
            <a:pPr lvl="0"/>
            <a:r>
              <a:rPr lang="de-AT" dirty="0"/>
              <a:t>Ergänzende Textzeilen zur Headline</a:t>
            </a:r>
          </a:p>
          <a:p>
            <a:pPr lvl="0"/>
            <a:r>
              <a:rPr lang="de-AT" dirty="0"/>
              <a:t>Empfehlung maximal drei bis vier Zeilen</a:t>
            </a:r>
          </a:p>
        </p:txBody>
      </p:sp>
      <p:sp>
        <p:nvSpPr>
          <p:cNvPr id="9" name="Bildplatzhalter 9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977816" y="2118492"/>
            <a:ext cx="2870988" cy="1021580"/>
          </a:xfr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28904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Foto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4433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000" b="1" i="0" baseline="0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1987200"/>
            <a:ext cx="12192941" cy="48708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34963" y="2314373"/>
            <a:ext cx="7972275" cy="877163"/>
          </a:xfrm>
        </p:spPr>
        <p:txBody>
          <a:bodyPr anchor="b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bei Bedarf auch 2-zeilig</a:t>
            </a:r>
            <a:endParaRPr lang="de-AT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4" y="3686400"/>
            <a:ext cx="7972275" cy="9233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 err="1"/>
              <a:t>Sublines</a:t>
            </a:r>
            <a:endParaRPr lang="de-AT" dirty="0"/>
          </a:p>
          <a:p>
            <a:pPr lvl="0"/>
            <a:r>
              <a:rPr lang="de-AT" dirty="0"/>
              <a:t>Ergänzende Textzeilen zur Headline</a:t>
            </a:r>
          </a:p>
          <a:p>
            <a:pPr lvl="0"/>
            <a:r>
              <a:rPr lang="de-AT" dirty="0"/>
              <a:t>Empfehlung maximal drei bis vier Zeilen</a:t>
            </a: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8977816" y="378102"/>
            <a:ext cx="2870988" cy="1021580"/>
            <a:chOff x="8727786" y="927871"/>
            <a:chExt cx="2507933" cy="892395"/>
          </a:xfrm>
        </p:grpSpPr>
        <p:sp>
          <p:nvSpPr>
            <p:cNvPr id="14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9508741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9749246" y="1030551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9981562" y="1028455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196637" y="1030551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0424475" y="1030551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0671553" y="1030551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017406" y="1030551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0762992" y="1028265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9501026" y="1294584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9674476" y="1295822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0869292" y="1296203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0472862" y="1294679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9857070" y="1294679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055762" y="1296203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269217" y="1296203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0670505" y="1296012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073794" y="1294584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25">
              <a:extLst>
                <a:ext uri="{FF2B5EF4-FFF2-40B4-BE49-F238E27FC236}">
                  <a16:creationId xmlns:a16="http://schemas.microsoft.com/office/drawing/2014/main" xmlns="" id="{D55BBB10-E671-4D33-B1D5-E81EA3EB7BC1}"/>
                </a:ext>
              </a:extLst>
            </p:cNvPr>
            <p:cNvSpPr/>
            <p:nvPr/>
          </p:nvSpPr>
          <p:spPr>
            <a:xfrm>
              <a:off x="9507217" y="1668535"/>
              <a:ext cx="66675" cy="114300"/>
            </a:xfrm>
            <a:custGeom>
              <a:avLst/>
              <a:gdLst>
                <a:gd name="connsiteX0" fmla="*/ 0 w 66675"/>
                <a:gd name="connsiteY0" fmla="*/ 0 h 114300"/>
                <a:gd name="connsiteX1" fmla="*/ 32766 w 66675"/>
                <a:gd name="connsiteY1" fmla="*/ 0 h 114300"/>
                <a:gd name="connsiteX2" fmla="*/ 75629 w 66675"/>
                <a:gd name="connsiteY2" fmla="*/ 61150 h 114300"/>
                <a:gd name="connsiteX3" fmla="*/ 34385 w 66675"/>
                <a:gd name="connsiteY3" fmla="*/ 122301 h 114300"/>
                <a:gd name="connsiteX4" fmla="*/ 0 w 66675"/>
                <a:gd name="connsiteY4" fmla="*/ 122301 h 114300"/>
                <a:gd name="connsiteX5" fmla="*/ 15050 w 66675"/>
                <a:gd name="connsiteY5" fmla="*/ 110014 h 114300"/>
                <a:gd name="connsiteX6" fmla="*/ 30861 w 66675"/>
                <a:gd name="connsiteY6" fmla="*/ 110014 h 114300"/>
                <a:gd name="connsiteX7" fmla="*/ 59436 w 66675"/>
                <a:gd name="connsiteY7" fmla="*/ 61341 h 114300"/>
                <a:gd name="connsiteX8" fmla="*/ 30861 w 66675"/>
                <a:gd name="connsiteY8" fmla="*/ 12287 h 114300"/>
                <a:gd name="connsiteX9" fmla="*/ 15431 w 66675"/>
                <a:gd name="connsiteY9" fmla="*/ 1228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114300">
                  <a:moveTo>
                    <a:pt x="0" y="0"/>
                  </a:moveTo>
                  <a:lnTo>
                    <a:pt x="32766" y="0"/>
                  </a:lnTo>
                  <a:cubicBezTo>
                    <a:pt x="70866" y="0"/>
                    <a:pt x="75629" y="27432"/>
                    <a:pt x="75629" y="61150"/>
                  </a:cubicBezTo>
                  <a:cubicBezTo>
                    <a:pt x="75629" y="92011"/>
                    <a:pt x="67913" y="122301"/>
                    <a:pt x="34385" y="122301"/>
                  </a:cubicBezTo>
                  <a:lnTo>
                    <a:pt x="0" y="122301"/>
                  </a:lnTo>
                  <a:close/>
                  <a:moveTo>
                    <a:pt x="15050" y="110014"/>
                  </a:moveTo>
                  <a:lnTo>
                    <a:pt x="30861" y="110014"/>
                  </a:lnTo>
                  <a:cubicBezTo>
                    <a:pt x="56864" y="110014"/>
                    <a:pt x="59436" y="83248"/>
                    <a:pt x="59436" y="61341"/>
                  </a:cubicBezTo>
                  <a:cubicBezTo>
                    <a:pt x="59436" y="37719"/>
                    <a:pt x="57912" y="12287"/>
                    <a:pt x="30861" y="12287"/>
                  </a:cubicBezTo>
                  <a:lnTo>
                    <a:pt x="15431" y="1228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26">
              <a:extLst>
                <a:ext uri="{FF2B5EF4-FFF2-40B4-BE49-F238E27FC236}">
                  <a16:creationId xmlns:a16="http://schemas.microsoft.com/office/drawing/2014/main" xmlns="" id="{CD139DAD-34E5-44E6-B06C-97AFBF67934B}"/>
                </a:ext>
              </a:extLst>
            </p:cNvPr>
            <p:cNvSpPr/>
            <p:nvPr/>
          </p:nvSpPr>
          <p:spPr>
            <a:xfrm>
              <a:off x="9611135" y="1696607"/>
              <a:ext cx="38100" cy="85725"/>
            </a:xfrm>
            <a:custGeom>
              <a:avLst/>
              <a:gdLst>
                <a:gd name="connsiteX0" fmla="*/ 0 w 38100"/>
                <a:gd name="connsiteY0" fmla="*/ 2408 h 85725"/>
                <a:gd name="connsiteX1" fmla="*/ 14383 w 38100"/>
                <a:gd name="connsiteY1" fmla="*/ 2408 h 85725"/>
                <a:gd name="connsiteX2" fmla="*/ 14383 w 38100"/>
                <a:gd name="connsiteY2" fmla="*/ 16124 h 85725"/>
                <a:gd name="connsiteX3" fmla="*/ 14383 w 38100"/>
                <a:gd name="connsiteY3" fmla="*/ 16124 h 85725"/>
                <a:gd name="connsiteX4" fmla="*/ 34290 w 38100"/>
                <a:gd name="connsiteY4" fmla="*/ 27 h 85725"/>
                <a:gd name="connsiteX5" fmla="*/ 40672 w 38100"/>
                <a:gd name="connsiteY5" fmla="*/ 1075 h 85725"/>
                <a:gd name="connsiteX6" fmla="*/ 40672 w 38100"/>
                <a:gd name="connsiteY6" fmla="*/ 15172 h 85725"/>
                <a:gd name="connsiteX7" fmla="*/ 32956 w 38100"/>
                <a:gd name="connsiteY7" fmla="*/ 14505 h 85725"/>
                <a:gd name="connsiteX8" fmla="*/ 13901 w 38100"/>
                <a:gd name="connsiteY8" fmla="*/ 36136 h 85725"/>
                <a:gd name="connsiteX9" fmla="*/ 13906 w 38100"/>
                <a:gd name="connsiteY9" fmla="*/ 36222 h 85725"/>
                <a:gd name="connsiteX10" fmla="*/ 13906 w 38100"/>
                <a:gd name="connsiteY10" fmla="*/ 94325 h 85725"/>
                <a:gd name="connsiteX11" fmla="*/ 0 w 38100"/>
                <a:gd name="connsiteY11" fmla="*/ 9432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100" h="85725">
                  <a:moveTo>
                    <a:pt x="0" y="2408"/>
                  </a:moveTo>
                  <a:lnTo>
                    <a:pt x="14383" y="2408"/>
                  </a:lnTo>
                  <a:lnTo>
                    <a:pt x="14383" y="16124"/>
                  </a:lnTo>
                  <a:lnTo>
                    <a:pt x="14383" y="16124"/>
                  </a:lnTo>
                  <a:cubicBezTo>
                    <a:pt x="18478" y="7361"/>
                    <a:pt x="23908" y="27"/>
                    <a:pt x="34290" y="27"/>
                  </a:cubicBezTo>
                  <a:cubicBezTo>
                    <a:pt x="36469" y="-106"/>
                    <a:pt x="38650" y="252"/>
                    <a:pt x="40672" y="1075"/>
                  </a:cubicBezTo>
                  <a:lnTo>
                    <a:pt x="40672" y="15172"/>
                  </a:lnTo>
                  <a:cubicBezTo>
                    <a:pt x="38129" y="14694"/>
                    <a:pt x="35544" y="14470"/>
                    <a:pt x="32956" y="14505"/>
                  </a:cubicBezTo>
                  <a:cubicBezTo>
                    <a:pt x="21722" y="15216"/>
                    <a:pt x="13190" y="24900"/>
                    <a:pt x="13901" y="36136"/>
                  </a:cubicBezTo>
                  <a:cubicBezTo>
                    <a:pt x="13903" y="36164"/>
                    <a:pt x="13905" y="36194"/>
                    <a:pt x="13906" y="36222"/>
                  </a:cubicBezTo>
                  <a:lnTo>
                    <a:pt x="13906" y="94325"/>
                  </a:lnTo>
                  <a:lnTo>
                    <a:pt x="0" y="9432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27">
              <a:extLst>
                <a:ext uri="{FF2B5EF4-FFF2-40B4-BE49-F238E27FC236}">
                  <a16:creationId xmlns:a16="http://schemas.microsoft.com/office/drawing/2014/main" xmlns="" id="{57554F74-CC92-4E43-AF5B-AB92568D0227}"/>
                </a:ext>
              </a:extLst>
            </p:cNvPr>
            <p:cNvSpPr/>
            <p:nvPr/>
          </p:nvSpPr>
          <p:spPr>
            <a:xfrm>
              <a:off x="9672952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383 w 9525"/>
                <a:gd name="connsiteY1" fmla="*/ 0 h 114300"/>
                <a:gd name="connsiteX2" fmla="*/ 14383 w 9525"/>
                <a:gd name="connsiteY2" fmla="*/ 16478 h 114300"/>
                <a:gd name="connsiteX3" fmla="*/ 0 w 9525"/>
                <a:gd name="connsiteY3" fmla="*/ 16478 h 114300"/>
                <a:gd name="connsiteX4" fmla="*/ 0 w 9525"/>
                <a:gd name="connsiteY4" fmla="*/ 30480 h 114300"/>
                <a:gd name="connsiteX5" fmla="*/ 14383 w 9525"/>
                <a:gd name="connsiteY5" fmla="*/ 30480 h 114300"/>
                <a:gd name="connsiteX6" fmla="*/ 14383 w 9525"/>
                <a:gd name="connsiteY6" fmla="*/ 122301 h 114300"/>
                <a:gd name="connsiteX7" fmla="*/ 0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383" y="0"/>
                  </a:lnTo>
                  <a:lnTo>
                    <a:pt x="14383" y="16478"/>
                  </a:lnTo>
                  <a:lnTo>
                    <a:pt x="0" y="16478"/>
                  </a:lnTo>
                  <a:close/>
                  <a:moveTo>
                    <a:pt x="0" y="30480"/>
                  </a:moveTo>
                  <a:lnTo>
                    <a:pt x="14383" y="30480"/>
                  </a:lnTo>
                  <a:lnTo>
                    <a:pt x="14383" y="122301"/>
                  </a:lnTo>
                  <a:lnTo>
                    <a:pt x="0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28">
              <a:extLst>
                <a:ext uri="{FF2B5EF4-FFF2-40B4-BE49-F238E27FC236}">
                  <a16:creationId xmlns:a16="http://schemas.microsoft.com/office/drawing/2014/main" xmlns="" id="{B30BC527-80C4-4557-9DC3-D93B1789E5D8}"/>
                </a:ext>
              </a:extLst>
            </p:cNvPr>
            <p:cNvSpPr/>
            <p:nvPr/>
          </p:nvSpPr>
          <p:spPr>
            <a:xfrm>
              <a:off x="9709623" y="1699015"/>
              <a:ext cx="57150" cy="85725"/>
            </a:xfrm>
            <a:custGeom>
              <a:avLst/>
              <a:gdLst>
                <a:gd name="connsiteX0" fmla="*/ 0 w 57150"/>
                <a:gd name="connsiteY0" fmla="*/ 0 h 85725"/>
                <a:gd name="connsiteX1" fmla="*/ 15812 w 57150"/>
                <a:gd name="connsiteY1" fmla="*/ 0 h 85725"/>
                <a:gd name="connsiteX2" fmla="*/ 32861 w 57150"/>
                <a:gd name="connsiteY2" fmla="*/ 73628 h 85725"/>
                <a:gd name="connsiteX3" fmla="*/ 33242 w 57150"/>
                <a:gd name="connsiteY3" fmla="*/ 73628 h 85725"/>
                <a:gd name="connsiteX4" fmla="*/ 50387 w 57150"/>
                <a:gd name="connsiteY4" fmla="*/ 0 h 85725"/>
                <a:gd name="connsiteX5" fmla="*/ 66104 w 57150"/>
                <a:gd name="connsiteY5" fmla="*/ 0 h 85725"/>
                <a:gd name="connsiteX6" fmla="*/ 41338 w 57150"/>
                <a:gd name="connsiteY6" fmla="*/ 91821 h 85725"/>
                <a:gd name="connsiteX7" fmla="*/ 24860 w 57150"/>
                <a:gd name="connsiteY7" fmla="*/ 91821 h 85725"/>
                <a:gd name="connsiteX8" fmla="*/ 0 w 57150"/>
                <a:gd name="connsiteY8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50" h="85725">
                  <a:moveTo>
                    <a:pt x="0" y="0"/>
                  </a:moveTo>
                  <a:lnTo>
                    <a:pt x="15812" y="0"/>
                  </a:lnTo>
                  <a:lnTo>
                    <a:pt x="32861" y="73628"/>
                  </a:lnTo>
                  <a:lnTo>
                    <a:pt x="33242" y="73628"/>
                  </a:lnTo>
                  <a:lnTo>
                    <a:pt x="50387" y="0"/>
                  </a:lnTo>
                  <a:lnTo>
                    <a:pt x="66104" y="0"/>
                  </a:lnTo>
                  <a:lnTo>
                    <a:pt x="41338" y="91821"/>
                  </a:lnTo>
                  <a:lnTo>
                    <a:pt x="24860" y="918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29">
              <a:extLst>
                <a:ext uri="{FF2B5EF4-FFF2-40B4-BE49-F238E27FC236}">
                  <a16:creationId xmlns:a16="http://schemas.microsoft.com/office/drawing/2014/main" xmlns="" id="{E8FFF429-BCC7-4982-8311-4DA3859CCD19}"/>
                </a:ext>
              </a:extLst>
            </p:cNvPr>
            <p:cNvSpPr/>
            <p:nvPr/>
          </p:nvSpPr>
          <p:spPr>
            <a:xfrm>
              <a:off x="9794110" y="1696348"/>
              <a:ext cx="57150" cy="95250"/>
            </a:xfrm>
            <a:custGeom>
              <a:avLst/>
              <a:gdLst>
                <a:gd name="connsiteX0" fmla="*/ 15049 w 57150"/>
                <a:gd name="connsiteY0" fmla="*/ 50292 h 95250"/>
                <a:gd name="connsiteX1" fmla="*/ 32671 w 57150"/>
                <a:gd name="connsiteY1" fmla="*/ 85630 h 95250"/>
                <a:gd name="connsiteX2" fmla="*/ 48292 w 57150"/>
                <a:gd name="connsiteY2" fmla="*/ 64389 h 95250"/>
                <a:gd name="connsiteX3" fmla="*/ 62674 w 57150"/>
                <a:gd name="connsiteY3" fmla="*/ 64389 h 95250"/>
                <a:gd name="connsiteX4" fmla="*/ 32890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292 w 57150"/>
                <a:gd name="connsiteY10" fmla="*/ 38957 h 95250"/>
                <a:gd name="connsiteX11" fmla="*/ 48292 w 57150"/>
                <a:gd name="connsiteY11" fmla="*/ 34004 h 95250"/>
                <a:gd name="connsiteX12" fmla="*/ 32385 w 57150"/>
                <a:gd name="connsiteY12" fmla="*/ 11525 h 95250"/>
                <a:gd name="connsiteX13" fmla="*/ 15621 w 57150"/>
                <a:gd name="connsiteY13" fmla="*/ 35528 h 95250"/>
                <a:gd name="connsiteX14" fmla="*/ 15621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049" y="50292"/>
                  </a:moveTo>
                  <a:cubicBezTo>
                    <a:pt x="15049" y="64294"/>
                    <a:pt x="15049" y="85630"/>
                    <a:pt x="32671" y="85630"/>
                  </a:cubicBezTo>
                  <a:cubicBezTo>
                    <a:pt x="46387" y="85630"/>
                    <a:pt x="48292" y="71247"/>
                    <a:pt x="48292" y="64389"/>
                  </a:cubicBezTo>
                  <a:lnTo>
                    <a:pt x="62674" y="64389"/>
                  </a:lnTo>
                  <a:cubicBezTo>
                    <a:pt x="63360" y="81524"/>
                    <a:pt x="50025" y="95971"/>
                    <a:pt x="32890" y="96655"/>
                  </a:cubicBezTo>
                  <a:cubicBezTo>
                    <a:pt x="32556" y="96668"/>
                    <a:pt x="32233" y="96676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292" y="38957"/>
                  </a:moveTo>
                  <a:lnTo>
                    <a:pt x="48292" y="34004"/>
                  </a:lnTo>
                  <a:cubicBezTo>
                    <a:pt x="48292" y="23717"/>
                    <a:pt x="45053" y="11525"/>
                    <a:pt x="32385" y="11525"/>
                  </a:cubicBezTo>
                  <a:cubicBezTo>
                    <a:pt x="17335" y="11525"/>
                    <a:pt x="15621" y="30004"/>
                    <a:pt x="15621" y="35528"/>
                  </a:cubicBezTo>
                  <a:lnTo>
                    <a:pt x="15621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0">
              <a:extLst>
                <a:ext uri="{FF2B5EF4-FFF2-40B4-BE49-F238E27FC236}">
                  <a16:creationId xmlns:a16="http://schemas.microsoft.com/office/drawing/2014/main" xmlns="" id="{E6CCDDDF-B937-40B5-9260-83B0C1870012}"/>
                </a:ext>
              </a:extLst>
            </p:cNvPr>
            <p:cNvSpPr/>
            <p:nvPr/>
          </p:nvSpPr>
          <p:spPr>
            <a:xfrm>
              <a:off x="9883359" y="1696534"/>
              <a:ext cx="57150" cy="85725"/>
            </a:xfrm>
            <a:custGeom>
              <a:avLst/>
              <a:gdLst>
                <a:gd name="connsiteX0" fmla="*/ 191 w 57150"/>
                <a:gd name="connsiteY0" fmla="*/ 2481 h 85725"/>
                <a:gd name="connsiteX1" fmla="*/ 14383 w 57150"/>
                <a:gd name="connsiteY1" fmla="*/ 2481 h 85725"/>
                <a:gd name="connsiteX2" fmla="*/ 14383 w 57150"/>
                <a:gd name="connsiteY2" fmla="*/ 13244 h 85725"/>
                <a:gd name="connsiteX3" fmla="*/ 14383 w 57150"/>
                <a:gd name="connsiteY3" fmla="*/ 13244 h 85725"/>
                <a:gd name="connsiteX4" fmla="*/ 36671 w 57150"/>
                <a:gd name="connsiteY4" fmla="*/ 5 h 85725"/>
                <a:gd name="connsiteX5" fmla="*/ 60865 w 57150"/>
                <a:gd name="connsiteY5" fmla="*/ 29151 h 85725"/>
                <a:gd name="connsiteX6" fmla="*/ 60865 w 57150"/>
                <a:gd name="connsiteY6" fmla="*/ 94207 h 85725"/>
                <a:gd name="connsiteX7" fmla="*/ 46482 w 57150"/>
                <a:gd name="connsiteY7" fmla="*/ 94207 h 85725"/>
                <a:gd name="connsiteX8" fmla="*/ 46482 w 57150"/>
                <a:gd name="connsiteY8" fmla="*/ 30866 h 85725"/>
                <a:gd name="connsiteX9" fmla="*/ 32956 w 57150"/>
                <a:gd name="connsiteY9" fmla="*/ 12387 h 85725"/>
                <a:gd name="connsiteX10" fmla="*/ 14383 w 57150"/>
                <a:gd name="connsiteY10" fmla="*/ 29207 h 85725"/>
                <a:gd name="connsiteX11" fmla="*/ 14383 w 57150"/>
                <a:gd name="connsiteY11" fmla="*/ 30866 h 85725"/>
                <a:gd name="connsiteX12" fmla="*/ 14383 w 57150"/>
                <a:gd name="connsiteY12" fmla="*/ 94302 h 85725"/>
                <a:gd name="connsiteX13" fmla="*/ 0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191" y="2481"/>
                  </a:moveTo>
                  <a:lnTo>
                    <a:pt x="14383" y="2481"/>
                  </a:lnTo>
                  <a:lnTo>
                    <a:pt x="14383" y="13244"/>
                  </a:lnTo>
                  <a:lnTo>
                    <a:pt x="14383" y="13244"/>
                  </a:lnTo>
                  <a:cubicBezTo>
                    <a:pt x="18688" y="4953"/>
                    <a:pt x="27327" y="-178"/>
                    <a:pt x="36671" y="5"/>
                  </a:cubicBezTo>
                  <a:cubicBezTo>
                    <a:pt x="60865" y="5"/>
                    <a:pt x="60865" y="18388"/>
                    <a:pt x="60865" y="29151"/>
                  </a:cubicBezTo>
                  <a:lnTo>
                    <a:pt x="60865" y="94207"/>
                  </a:lnTo>
                  <a:lnTo>
                    <a:pt x="46482" y="94207"/>
                  </a:lnTo>
                  <a:lnTo>
                    <a:pt x="46482" y="30866"/>
                  </a:lnTo>
                  <a:cubicBezTo>
                    <a:pt x="46482" y="23817"/>
                    <a:pt x="46006" y="12387"/>
                    <a:pt x="32956" y="12387"/>
                  </a:cubicBezTo>
                  <a:cubicBezTo>
                    <a:pt x="23184" y="11904"/>
                    <a:pt x="14869" y="19435"/>
                    <a:pt x="14383" y="29207"/>
                  </a:cubicBezTo>
                  <a:cubicBezTo>
                    <a:pt x="14364" y="29760"/>
                    <a:pt x="14354" y="30313"/>
                    <a:pt x="14383" y="30866"/>
                  </a:cubicBezTo>
                  <a:lnTo>
                    <a:pt x="14383" y="94302"/>
                  </a:lnTo>
                  <a:lnTo>
                    <a:pt x="0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1">
              <a:extLst>
                <a:ext uri="{FF2B5EF4-FFF2-40B4-BE49-F238E27FC236}">
                  <a16:creationId xmlns:a16="http://schemas.microsoft.com/office/drawing/2014/main" xmlns="" id="{A7123C0E-65BA-4524-A00B-998A35D96001}"/>
                </a:ext>
              </a:extLst>
            </p:cNvPr>
            <p:cNvSpPr/>
            <p:nvPr/>
          </p:nvSpPr>
          <p:spPr>
            <a:xfrm>
              <a:off x="10024520" y="1668535"/>
              <a:ext cx="57150" cy="123825"/>
            </a:xfrm>
            <a:custGeom>
              <a:avLst/>
              <a:gdLst>
                <a:gd name="connsiteX0" fmla="*/ 95 w 57150"/>
                <a:gd name="connsiteY0" fmla="*/ 0 h 123825"/>
                <a:gd name="connsiteX1" fmla="*/ 14478 w 57150"/>
                <a:gd name="connsiteY1" fmla="*/ 0 h 123825"/>
                <a:gd name="connsiteX2" fmla="*/ 14478 w 57150"/>
                <a:gd name="connsiteY2" fmla="*/ 40958 h 123825"/>
                <a:gd name="connsiteX3" fmla="*/ 14478 w 57150"/>
                <a:gd name="connsiteY3" fmla="*/ 40958 h 123825"/>
                <a:gd name="connsiteX4" fmla="*/ 35719 w 57150"/>
                <a:gd name="connsiteY4" fmla="*/ 28099 h 123825"/>
                <a:gd name="connsiteX5" fmla="*/ 63627 w 57150"/>
                <a:gd name="connsiteY5" fmla="*/ 76486 h 123825"/>
                <a:gd name="connsiteX6" fmla="*/ 33623 w 57150"/>
                <a:gd name="connsiteY6" fmla="*/ 124777 h 123825"/>
                <a:gd name="connsiteX7" fmla="*/ 13716 w 57150"/>
                <a:gd name="connsiteY7" fmla="*/ 111061 h 123825"/>
                <a:gd name="connsiteX8" fmla="*/ 13716 w 57150"/>
                <a:gd name="connsiteY8" fmla="*/ 111061 h 123825"/>
                <a:gd name="connsiteX9" fmla="*/ 13716 w 57150"/>
                <a:gd name="connsiteY9" fmla="*/ 122396 h 123825"/>
                <a:gd name="connsiteX10" fmla="*/ 0 w 57150"/>
                <a:gd name="connsiteY10" fmla="*/ 122396 h 123825"/>
                <a:gd name="connsiteX11" fmla="*/ 32099 w 57150"/>
                <a:gd name="connsiteY11" fmla="*/ 112395 h 123825"/>
                <a:gd name="connsiteX12" fmla="*/ 48863 w 57150"/>
                <a:gd name="connsiteY12" fmla="*/ 76390 h 123825"/>
                <a:gd name="connsiteX13" fmla="*/ 32099 w 57150"/>
                <a:gd name="connsiteY13" fmla="*/ 40386 h 123825"/>
                <a:gd name="connsiteX14" fmla="*/ 13525 w 57150"/>
                <a:gd name="connsiteY14" fmla="*/ 76390 h 123825"/>
                <a:gd name="connsiteX15" fmla="*/ 32099 w 57150"/>
                <a:gd name="connsiteY15" fmla="*/ 11239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7150" h="123825">
                  <a:moveTo>
                    <a:pt x="95" y="0"/>
                  </a:moveTo>
                  <a:lnTo>
                    <a:pt x="14478" y="0"/>
                  </a:lnTo>
                  <a:lnTo>
                    <a:pt x="14478" y="40958"/>
                  </a:lnTo>
                  <a:lnTo>
                    <a:pt x="14478" y="40958"/>
                  </a:lnTo>
                  <a:cubicBezTo>
                    <a:pt x="18393" y="32847"/>
                    <a:pt x="26718" y="27806"/>
                    <a:pt x="35719" y="28099"/>
                  </a:cubicBezTo>
                  <a:cubicBezTo>
                    <a:pt x="60579" y="28099"/>
                    <a:pt x="63627" y="57245"/>
                    <a:pt x="63627" y="76486"/>
                  </a:cubicBezTo>
                  <a:cubicBezTo>
                    <a:pt x="63627" y="102394"/>
                    <a:pt x="54864" y="124777"/>
                    <a:pt x="33623" y="124777"/>
                  </a:cubicBezTo>
                  <a:cubicBezTo>
                    <a:pt x="24736" y="124938"/>
                    <a:pt x="16735" y="119424"/>
                    <a:pt x="13716" y="111061"/>
                  </a:cubicBezTo>
                  <a:lnTo>
                    <a:pt x="13716" y="111061"/>
                  </a:lnTo>
                  <a:lnTo>
                    <a:pt x="13716" y="122396"/>
                  </a:lnTo>
                  <a:lnTo>
                    <a:pt x="0" y="122396"/>
                  </a:lnTo>
                  <a:close/>
                  <a:moveTo>
                    <a:pt x="32099" y="112395"/>
                  </a:moveTo>
                  <a:cubicBezTo>
                    <a:pt x="45434" y="112395"/>
                    <a:pt x="48863" y="97346"/>
                    <a:pt x="48863" y="76390"/>
                  </a:cubicBezTo>
                  <a:cubicBezTo>
                    <a:pt x="48863" y="55435"/>
                    <a:pt x="45434" y="40386"/>
                    <a:pt x="32099" y="40386"/>
                  </a:cubicBezTo>
                  <a:cubicBezTo>
                    <a:pt x="16669" y="40386"/>
                    <a:pt x="13525" y="58579"/>
                    <a:pt x="13525" y="76390"/>
                  </a:cubicBezTo>
                  <a:cubicBezTo>
                    <a:pt x="13525" y="94202"/>
                    <a:pt x="16669" y="112395"/>
                    <a:pt x="32099" y="11239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2">
              <a:extLst>
                <a:ext uri="{FF2B5EF4-FFF2-40B4-BE49-F238E27FC236}">
                  <a16:creationId xmlns:a16="http://schemas.microsoft.com/office/drawing/2014/main" xmlns="" id="{F80D1A73-5476-4B5B-87AD-02CBE50C856D}"/>
                </a:ext>
              </a:extLst>
            </p:cNvPr>
            <p:cNvSpPr/>
            <p:nvPr/>
          </p:nvSpPr>
          <p:spPr>
            <a:xfrm>
              <a:off x="10106530" y="1699015"/>
              <a:ext cx="57150" cy="114300"/>
            </a:xfrm>
            <a:custGeom>
              <a:avLst/>
              <a:gdLst>
                <a:gd name="connsiteX0" fmla="*/ 0 w 57150"/>
                <a:gd name="connsiteY0" fmla="*/ 0 h 114300"/>
                <a:gd name="connsiteX1" fmla="*/ 15812 w 57150"/>
                <a:gd name="connsiteY1" fmla="*/ 0 h 114300"/>
                <a:gd name="connsiteX2" fmla="*/ 34004 w 57150"/>
                <a:gd name="connsiteY2" fmla="*/ 73628 h 114300"/>
                <a:gd name="connsiteX3" fmla="*/ 34004 w 57150"/>
                <a:gd name="connsiteY3" fmla="*/ 73628 h 114300"/>
                <a:gd name="connsiteX4" fmla="*/ 50101 w 57150"/>
                <a:gd name="connsiteY4" fmla="*/ 0 h 114300"/>
                <a:gd name="connsiteX5" fmla="*/ 65913 w 57150"/>
                <a:gd name="connsiteY5" fmla="*/ 0 h 114300"/>
                <a:gd name="connsiteX6" fmla="*/ 39338 w 57150"/>
                <a:gd name="connsiteY6" fmla="*/ 98012 h 114300"/>
                <a:gd name="connsiteX7" fmla="*/ 14859 w 57150"/>
                <a:gd name="connsiteY7" fmla="*/ 122015 h 114300"/>
                <a:gd name="connsiteX8" fmla="*/ 4382 w 57150"/>
                <a:gd name="connsiteY8" fmla="*/ 121539 h 114300"/>
                <a:gd name="connsiteX9" fmla="*/ 4382 w 57150"/>
                <a:gd name="connsiteY9" fmla="*/ 110109 h 114300"/>
                <a:gd name="connsiteX10" fmla="*/ 12763 w 57150"/>
                <a:gd name="connsiteY10" fmla="*/ 110585 h 114300"/>
                <a:gd name="connsiteX11" fmla="*/ 24098 w 57150"/>
                <a:gd name="connsiteY11" fmla="*/ 101727 h 114300"/>
                <a:gd name="connsiteX12" fmla="*/ 26861 w 57150"/>
                <a:gd name="connsiteY12" fmla="*/ 9363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114300">
                  <a:moveTo>
                    <a:pt x="0" y="0"/>
                  </a:moveTo>
                  <a:lnTo>
                    <a:pt x="15812" y="0"/>
                  </a:lnTo>
                  <a:lnTo>
                    <a:pt x="34004" y="73628"/>
                  </a:lnTo>
                  <a:lnTo>
                    <a:pt x="34004" y="73628"/>
                  </a:lnTo>
                  <a:lnTo>
                    <a:pt x="50101" y="0"/>
                  </a:lnTo>
                  <a:lnTo>
                    <a:pt x="65913" y="0"/>
                  </a:lnTo>
                  <a:lnTo>
                    <a:pt x="39338" y="98012"/>
                  </a:lnTo>
                  <a:cubicBezTo>
                    <a:pt x="35909" y="110681"/>
                    <a:pt x="32099" y="122015"/>
                    <a:pt x="14859" y="122015"/>
                  </a:cubicBezTo>
                  <a:cubicBezTo>
                    <a:pt x="9239" y="122015"/>
                    <a:pt x="6763" y="122015"/>
                    <a:pt x="4382" y="121539"/>
                  </a:cubicBezTo>
                  <a:lnTo>
                    <a:pt x="4382" y="110109"/>
                  </a:lnTo>
                  <a:cubicBezTo>
                    <a:pt x="7163" y="110484"/>
                    <a:pt x="9963" y="110643"/>
                    <a:pt x="12763" y="110585"/>
                  </a:cubicBezTo>
                  <a:cubicBezTo>
                    <a:pt x="18183" y="110754"/>
                    <a:pt x="22955" y="107028"/>
                    <a:pt x="24098" y="101727"/>
                  </a:cubicBezTo>
                  <a:lnTo>
                    <a:pt x="26861" y="9363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3">
              <a:extLst>
                <a:ext uri="{FF2B5EF4-FFF2-40B4-BE49-F238E27FC236}">
                  <a16:creationId xmlns:a16="http://schemas.microsoft.com/office/drawing/2014/main" xmlns="" id="{D3018CDD-1AE0-492B-9B9E-1FE3054C152F}"/>
                </a:ext>
              </a:extLst>
            </p:cNvPr>
            <p:cNvSpPr/>
            <p:nvPr/>
          </p:nvSpPr>
          <p:spPr>
            <a:xfrm>
              <a:off x="10246357" y="1668535"/>
              <a:ext cx="95250" cy="114300"/>
            </a:xfrm>
            <a:custGeom>
              <a:avLst/>
              <a:gdLst>
                <a:gd name="connsiteX0" fmla="*/ 0 w 95250"/>
                <a:gd name="connsiteY0" fmla="*/ 0 h 114300"/>
                <a:gd name="connsiteX1" fmla="*/ 25336 w 95250"/>
                <a:gd name="connsiteY1" fmla="*/ 0 h 114300"/>
                <a:gd name="connsiteX2" fmla="*/ 49816 w 95250"/>
                <a:gd name="connsiteY2" fmla="*/ 96965 h 114300"/>
                <a:gd name="connsiteX3" fmla="*/ 50197 w 95250"/>
                <a:gd name="connsiteY3" fmla="*/ 96965 h 114300"/>
                <a:gd name="connsiteX4" fmla="*/ 74676 w 95250"/>
                <a:gd name="connsiteY4" fmla="*/ 0 h 114300"/>
                <a:gd name="connsiteX5" fmla="*/ 100013 w 95250"/>
                <a:gd name="connsiteY5" fmla="*/ 0 h 114300"/>
                <a:gd name="connsiteX6" fmla="*/ 100013 w 95250"/>
                <a:gd name="connsiteY6" fmla="*/ 122301 h 114300"/>
                <a:gd name="connsiteX7" fmla="*/ 84963 w 95250"/>
                <a:gd name="connsiteY7" fmla="*/ 122301 h 114300"/>
                <a:gd name="connsiteX8" fmla="*/ 84963 w 95250"/>
                <a:gd name="connsiteY8" fmla="*/ 15431 h 114300"/>
                <a:gd name="connsiteX9" fmla="*/ 84582 w 95250"/>
                <a:gd name="connsiteY9" fmla="*/ 15431 h 114300"/>
                <a:gd name="connsiteX10" fmla="*/ 57531 w 95250"/>
                <a:gd name="connsiteY10" fmla="*/ 122301 h 114300"/>
                <a:gd name="connsiteX11" fmla="*/ 42481 w 95250"/>
                <a:gd name="connsiteY11" fmla="*/ 122301 h 114300"/>
                <a:gd name="connsiteX12" fmla="*/ 15430 w 95250"/>
                <a:gd name="connsiteY12" fmla="*/ 15431 h 114300"/>
                <a:gd name="connsiteX13" fmla="*/ 15049 w 95250"/>
                <a:gd name="connsiteY13" fmla="*/ 15431 h 114300"/>
                <a:gd name="connsiteX14" fmla="*/ 15049 w 95250"/>
                <a:gd name="connsiteY14" fmla="*/ 122301 h 114300"/>
                <a:gd name="connsiteX15" fmla="*/ 0 w 95250"/>
                <a:gd name="connsiteY15" fmla="*/ 122301 h 114300"/>
                <a:gd name="connsiteX16" fmla="*/ 0 w 95250"/>
                <a:gd name="connsiteY1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5250" h="114300">
                  <a:moveTo>
                    <a:pt x="0" y="0"/>
                  </a:moveTo>
                  <a:lnTo>
                    <a:pt x="25336" y="0"/>
                  </a:lnTo>
                  <a:lnTo>
                    <a:pt x="49816" y="96965"/>
                  </a:lnTo>
                  <a:lnTo>
                    <a:pt x="50197" y="96965"/>
                  </a:lnTo>
                  <a:lnTo>
                    <a:pt x="74676" y="0"/>
                  </a:lnTo>
                  <a:lnTo>
                    <a:pt x="100013" y="0"/>
                  </a:lnTo>
                  <a:lnTo>
                    <a:pt x="100013" y="122301"/>
                  </a:lnTo>
                  <a:lnTo>
                    <a:pt x="84963" y="122301"/>
                  </a:lnTo>
                  <a:lnTo>
                    <a:pt x="84963" y="15431"/>
                  </a:lnTo>
                  <a:lnTo>
                    <a:pt x="84582" y="15431"/>
                  </a:lnTo>
                  <a:lnTo>
                    <a:pt x="57531" y="122301"/>
                  </a:lnTo>
                  <a:lnTo>
                    <a:pt x="42481" y="122301"/>
                  </a:lnTo>
                  <a:lnTo>
                    <a:pt x="15430" y="15431"/>
                  </a:lnTo>
                  <a:lnTo>
                    <a:pt x="15049" y="15431"/>
                  </a:lnTo>
                  <a:lnTo>
                    <a:pt x="15049" y="122301"/>
                  </a:lnTo>
                  <a:lnTo>
                    <a:pt x="0" y="122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4">
              <a:extLst>
                <a:ext uri="{FF2B5EF4-FFF2-40B4-BE49-F238E27FC236}">
                  <a16:creationId xmlns:a16="http://schemas.microsoft.com/office/drawing/2014/main" xmlns="" id="{6941E3D8-300B-4FF2-8B8E-F8B42C50BA21}"/>
                </a:ext>
              </a:extLst>
            </p:cNvPr>
            <p:cNvSpPr/>
            <p:nvPr/>
          </p:nvSpPr>
          <p:spPr>
            <a:xfrm>
              <a:off x="10371863" y="1696158"/>
              <a:ext cx="66675" cy="95250"/>
            </a:xfrm>
            <a:custGeom>
              <a:avLst/>
              <a:gdLst>
                <a:gd name="connsiteX0" fmla="*/ 2129 w 66675"/>
                <a:gd name="connsiteY0" fmla="*/ 30194 h 95250"/>
                <a:gd name="connsiteX1" fmla="*/ 32990 w 66675"/>
                <a:gd name="connsiteY1" fmla="*/ 0 h 95250"/>
                <a:gd name="connsiteX2" fmla="*/ 60898 w 66675"/>
                <a:gd name="connsiteY2" fmla="*/ 26384 h 95250"/>
                <a:gd name="connsiteX3" fmla="*/ 60898 w 66675"/>
                <a:gd name="connsiteY3" fmla="*/ 77819 h 95250"/>
                <a:gd name="connsiteX4" fmla="*/ 65375 w 66675"/>
                <a:gd name="connsiteY4" fmla="*/ 85153 h 95250"/>
                <a:gd name="connsiteX5" fmla="*/ 68804 w 66675"/>
                <a:gd name="connsiteY5" fmla="*/ 84296 h 95250"/>
                <a:gd name="connsiteX6" fmla="*/ 68804 w 66675"/>
                <a:gd name="connsiteY6" fmla="*/ 94583 h 95250"/>
                <a:gd name="connsiteX7" fmla="*/ 60422 w 66675"/>
                <a:gd name="connsiteY7" fmla="*/ 95440 h 95250"/>
                <a:gd name="connsiteX8" fmla="*/ 47372 w 66675"/>
                <a:gd name="connsiteY8" fmla="*/ 83629 h 95250"/>
                <a:gd name="connsiteX9" fmla="*/ 47372 w 66675"/>
                <a:gd name="connsiteY9" fmla="*/ 83629 h 95250"/>
                <a:gd name="connsiteX10" fmla="*/ 25084 w 66675"/>
                <a:gd name="connsiteY10" fmla="*/ 96869 h 95250"/>
                <a:gd name="connsiteX11" fmla="*/ 128 w 66675"/>
                <a:gd name="connsiteY11" fmla="*/ 70104 h 95250"/>
                <a:gd name="connsiteX12" fmla="*/ 17464 w 66675"/>
                <a:gd name="connsiteY12" fmla="*/ 44767 h 95250"/>
                <a:gd name="connsiteX13" fmla="*/ 36514 w 66675"/>
                <a:gd name="connsiteY13" fmla="*/ 38957 h 95250"/>
                <a:gd name="connsiteX14" fmla="*/ 46991 w 66675"/>
                <a:gd name="connsiteY14" fmla="*/ 25051 h 95250"/>
                <a:gd name="connsiteX15" fmla="*/ 32228 w 66675"/>
                <a:gd name="connsiteY15" fmla="*/ 11525 h 95250"/>
                <a:gd name="connsiteX16" fmla="*/ 16426 w 66675"/>
                <a:gd name="connsiteY16" fmla="*/ 27152 h 95250"/>
                <a:gd name="connsiteX17" fmla="*/ 16702 w 66675"/>
                <a:gd name="connsiteY17" fmla="*/ 30194 h 95250"/>
                <a:gd name="connsiteX18" fmla="*/ 16702 w 66675"/>
                <a:gd name="connsiteY18" fmla="*/ 30194 h 95250"/>
                <a:gd name="connsiteX19" fmla="*/ 46515 w 66675"/>
                <a:gd name="connsiteY19" fmla="*/ 44291 h 95250"/>
                <a:gd name="connsiteX20" fmla="*/ 22036 w 66675"/>
                <a:gd name="connsiteY20" fmla="*/ 55054 h 95250"/>
                <a:gd name="connsiteX21" fmla="*/ 14987 w 66675"/>
                <a:gd name="connsiteY21" fmla="*/ 69628 h 95250"/>
                <a:gd name="connsiteX22" fmla="*/ 28037 w 66675"/>
                <a:gd name="connsiteY22" fmla="*/ 85344 h 95250"/>
                <a:gd name="connsiteX23" fmla="*/ 46705 w 66675"/>
                <a:gd name="connsiteY23" fmla="*/ 6829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6675" h="95250">
                  <a:moveTo>
                    <a:pt x="2129" y="30194"/>
                  </a:moveTo>
                  <a:cubicBezTo>
                    <a:pt x="2129" y="9334"/>
                    <a:pt x="11082" y="0"/>
                    <a:pt x="32990" y="0"/>
                  </a:cubicBezTo>
                  <a:cubicBezTo>
                    <a:pt x="60898" y="0"/>
                    <a:pt x="60898" y="16764"/>
                    <a:pt x="60898" y="26384"/>
                  </a:cubicBezTo>
                  <a:lnTo>
                    <a:pt x="60898" y="77819"/>
                  </a:lnTo>
                  <a:cubicBezTo>
                    <a:pt x="60898" y="81534"/>
                    <a:pt x="60898" y="85153"/>
                    <a:pt x="65375" y="85153"/>
                  </a:cubicBezTo>
                  <a:cubicBezTo>
                    <a:pt x="66584" y="85274"/>
                    <a:pt x="67794" y="84971"/>
                    <a:pt x="68804" y="84296"/>
                  </a:cubicBezTo>
                  <a:lnTo>
                    <a:pt x="68804" y="94583"/>
                  </a:lnTo>
                  <a:cubicBezTo>
                    <a:pt x="66041" y="95092"/>
                    <a:pt x="63231" y="95379"/>
                    <a:pt x="60422" y="95440"/>
                  </a:cubicBezTo>
                  <a:cubicBezTo>
                    <a:pt x="54897" y="95440"/>
                    <a:pt x="48134" y="95440"/>
                    <a:pt x="47372" y="83629"/>
                  </a:cubicBezTo>
                  <a:lnTo>
                    <a:pt x="47372" y="83629"/>
                  </a:lnTo>
                  <a:cubicBezTo>
                    <a:pt x="42829" y="91695"/>
                    <a:pt x="34342" y="96738"/>
                    <a:pt x="25084" y="96869"/>
                  </a:cubicBezTo>
                  <a:cubicBezTo>
                    <a:pt x="7939" y="96869"/>
                    <a:pt x="128" y="86582"/>
                    <a:pt x="128" y="70104"/>
                  </a:cubicBezTo>
                  <a:cubicBezTo>
                    <a:pt x="-1072" y="58553"/>
                    <a:pt x="6262" y="47830"/>
                    <a:pt x="17464" y="44767"/>
                  </a:cubicBezTo>
                  <a:lnTo>
                    <a:pt x="36514" y="38957"/>
                  </a:lnTo>
                  <a:cubicBezTo>
                    <a:pt x="46991" y="35719"/>
                    <a:pt x="46991" y="32766"/>
                    <a:pt x="46991" y="25051"/>
                  </a:cubicBezTo>
                  <a:cubicBezTo>
                    <a:pt x="46991" y="17335"/>
                    <a:pt x="41848" y="11525"/>
                    <a:pt x="32228" y="11525"/>
                  </a:cubicBezTo>
                  <a:cubicBezTo>
                    <a:pt x="23550" y="11476"/>
                    <a:pt x="16473" y="18472"/>
                    <a:pt x="16426" y="27152"/>
                  </a:cubicBezTo>
                  <a:cubicBezTo>
                    <a:pt x="16416" y="28173"/>
                    <a:pt x="16511" y="29191"/>
                    <a:pt x="16702" y="30194"/>
                  </a:cubicBezTo>
                  <a:lnTo>
                    <a:pt x="16702" y="30194"/>
                  </a:lnTo>
                  <a:close/>
                  <a:moveTo>
                    <a:pt x="46515" y="44291"/>
                  </a:moveTo>
                  <a:cubicBezTo>
                    <a:pt x="41181" y="49911"/>
                    <a:pt x="28513" y="51149"/>
                    <a:pt x="22036" y="55054"/>
                  </a:cubicBezTo>
                  <a:cubicBezTo>
                    <a:pt x="16978" y="58059"/>
                    <a:pt x="14197" y="63796"/>
                    <a:pt x="14987" y="69628"/>
                  </a:cubicBezTo>
                  <a:cubicBezTo>
                    <a:pt x="14987" y="79153"/>
                    <a:pt x="18226" y="85344"/>
                    <a:pt x="28037" y="85344"/>
                  </a:cubicBezTo>
                  <a:cubicBezTo>
                    <a:pt x="37676" y="85204"/>
                    <a:pt x="45696" y="77883"/>
                    <a:pt x="46705" y="68294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35">
              <a:extLst>
                <a:ext uri="{FF2B5EF4-FFF2-40B4-BE49-F238E27FC236}">
                  <a16:creationId xmlns:a16="http://schemas.microsoft.com/office/drawing/2014/main" xmlns="" id="{FAACAD01-62F0-4F04-A19B-23AEF4F65FEA}"/>
                </a:ext>
              </a:extLst>
            </p:cNvPr>
            <p:cNvSpPr/>
            <p:nvPr/>
          </p:nvSpPr>
          <p:spPr>
            <a:xfrm>
              <a:off x="10462765" y="1668535"/>
              <a:ext cx="66675" cy="114300"/>
            </a:xfrm>
            <a:custGeom>
              <a:avLst/>
              <a:gdLst>
                <a:gd name="connsiteX0" fmla="*/ 68485 w 66675"/>
                <a:gd name="connsiteY0" fmla="*/ 122301 h 114300"/>
                <a:gd name="connsiteX1" fmla="*/ 51721 w 66675"/>
                <a:gd name="connsiteY1" fmla="*/ 122301 h 114300"/>
                <a:gd name="connsiteX2" fmla="*/ 26194 w 66675"/>
                <a:gd name="connsiteY2" fmla="*/ 76867 h 114300"/>
                <a:gd name="connsiteX3" fmla="*/ 14383 w 66675"/>
                <a:gd name="connsiteY3" fmla="*/ 91250 h 114300"/>
                <a:gd name="connsiteX4" fmla="*/ 14383 w 66675"/>
                <a:gd name="connsiteY4" fmla="*/ 122301 h 114300"/>
                <a:gd name="connsiteX5" fmla="*/ 0 w 66675"/>
                <a:gd name="connsiteY5" fmla="*/ 122301 h 114300"/>
                <a:gd name="connsiteX6" fmla="*/ 0 w 66675"/>
                <a:gd name="connsiteY6" fmla="*/ 0 h 114300"/>
                <a:gd name="connsiteX7" fmla="*/ 14383 w 66675"/>
                <a:gd name="connsiteY7" fmla="*/ 0 h 114300"/>
                <a:gd name="connsiteX8" fmla="*/ 14383 w 66675"/>
                <a:gd name="connsiteY8" fmla="*/ 72771 h 114300"/>
                <a:gd name="connsiteX9" fmla="*/ 14764 w 66675"/>
                <a:gd name="connsiteY9" fmla="*/ 72771 h 114300"/>
                <a:gd name="connsiteX10" fmla="*/ 46958 w 66675"/>
                <a:gd name="connsiteY10" fmla="*/ 30480 h 114300"/>
                <a:gd name="connsiteX11" fmla="*/ 63722 w 66675"/>
                <a:gd name="connsiteY11" fmla="*/ 30480 h 114300"/>
                <a:gd name="connsiteX12" fmla="*/ 35814 w 66675"/>
                <a:gd name="connsiteY12" fmla="*/ 65056 h 114300"/>
                <a:gd name="connsiteX13" fmla="*/ 68485 w 66675"/>
                <a:gd name="connsiteY13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14300">
                  <a:moveTo>
                    <a:pt x="68485" y="122301"/>
                  </a:moveTo>
                  <a:lnTo>
                    <a:pt x="51721" y="122301"/>
                  </a:lnTo>
                  <a:lnTo>
                    <a:pt x="26194" y="76867"/>
                  </a:lnTo>
                  <a:lnTo>
                    <a:pt x="14383" y="91250"/>
                  </a:lnTo>
                  <a:lnTo>
                    <a:pt x="14383" y="122301"/>
                  </a:lnTo>
                  <a:lnTo>
                    <a:pt x="0" y="122301"/>
                  </a:lnTo>
                  <a:lnTo>
                    <a:pt x="0" y="0"/>
                  </a:lnTo>
                  <a:lnTo>
                    <a:pt x="14383" y="0"/>
                  </a:lnTo>
                  <a:lnTo>
                    <a:pt x="14383" y="72771"/>
                  </a:lnTo>
                  <a:lnTo>
                    <a:pt x="14764" y="72771"/>
                  </a:lnTo>
                  <a:lnTo>
                    <a:pt x="46958" y="30480"/>
                  </a:lnTo>
                  <a:lnTo>
                    <a:pt x="63722" y="30480"/>
                  </a:lnTo>
                  <a:lnTo>
                    <a:pt x="35814" y="65056"/>
                  </a:lnTo>
                  <a:lnTo>
                    <a:pt x="6848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36">
              <a:extLst>
                <a:ext uri="{FF2B5EF4-FFF2-40B4-BE49-F238E27FC236}">
                  <a16:creationId xmlns:a16="http://schemas.microsoft.com/office/drawing/2014/main" xmlns="" id="{0F55D180-B8F0-4117-9BA6-23B28540EBD5}"/>
                </a:ext>
              </a:extLst>
            </p:cNvPr>
            <p:cNvSpPr/>
            <p:nvPr/>
          </p:nvSpPr>
          <p:spPr>
            <a:xfrm>
              <a:off x="10550014" y="1668535"/>
              <a:ext cx="9525" cy="114300"/>
            </a:xfrm>
            <a:custGeom>
              <a:avLst/>
              <a:gdLst>
                <a:gd name="connsiteX0" fmla="*/ 0 w 9525"/>
                <a:gd name="connsiteY0" fmla="*/ 0 h 114300"/>
                <a:gd name="connsiteX1" fmla="*/ 14478 w 9525"/>
                <a:gd name="connsiteY1" fmla="*/ 0 h 114300"/>
                <a:gd name="connsiteX2" fmla="*/ 14478 w 9525"/>
                <a:gd name="connsiteY2" fmla="*/ 16478 h 114300"/>
                <a:gd name="connsiteX3" fmla="*/ 95 w 9525"/>
                <a:gd name="connsiteY3" fmla="*/ 16478 h 114300"/>
                <a:gd name="connsiteX4" fmla="*/ 0 w 9525"/>
                <a:gd name="connsiteY4" fmla="*/ 30480 h 114300"/>
                <a:gd name="connsiteX5" fmla="*/ 14478 w 9525"/>
                <a:gd name="connsiteY5" fmla="*/ 30480 h 114300"/>
                <a:gd name="connsiteX6" fmla="*/ 14478 w 9525"/>
                <a:gd name="connsiteY6" fmla="*/ 122301 h 114300"/>
                <a:gd name="connsiteX7" fmla="*/ 95 w 9525"/>
                <a:gd name="connsiteY7" fmla="*/ 122301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25" h="114300">
                  <a:moveTo>
                    <a:pt x="0" y="0"/>
                  </a:moveTo>
                  <a:lnTo>
                    <a:pt x="14478" y="0"/>
                  </a:lnTo>
                  <a:lnTo>
                    <a:pt x="14478" y="16478"/>
                  </a:lnTo>
                  <a:lnTo>
                    <a:pt x="95" y="16478"/>
                  </a:lnTo>
                  <a:close/>
                  <a:moveTo>
                    <a:pt x="0" y="30480"/>
                  </a:moveTo>
                  <a:lnTo>
                    <a:pt x="14478" y="30480"/>
                  </a:lnTo>
                  <a:lnTo>
                    <a:pt x="14478" y="122301"/>
                  </a:lnTo>
                  <a:lnTo>
                    <a:pt x="95" y="12230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37">
              <a:extLst>
                <a:ext uri="{FF2B5EF4-FFF2-40B4-BE49-F238E27FC236}">
                  <a16:creationId xmlns:a16="http://schemas.microsoft.com/office/drawing/2014/main" xmlns="" id="{DE62F8CF-0E7F-49F7-8F3F-AAFFC2D3D22D}"/>
                </a:ext>
              </a:extLst>
            </p:cNvPr>
            <p:cNvSpPr/>
            <p:nvPr/>
          </p:nvSpPr>
          <p:spPr>
            <a:xfrm>
              <a:off x="10594305" y="1696534"/>
              <a:ext cx="57150" cy="85725"/>
            </a:xfrm>
            <a:custGeom>
              <a:avLst/>
              <a:gdLst>
                <a:gd name="connsiteX0" fmla="*/ 0 w 57150"/>
                <a:gd name="connsiteY0" fmla="*/ 2481 h 85725"/>
                <a:gd name="connsiteX1" fmla="*/ 13716 w 57150"/>
                <a:gd name="connsiteY1" fmla="*/ 2481 h 85725"/>
                <a:gd name="connsiteX2" fmla="*/ 13716 w 57150"/>
                <a:gd name="connsiteY2" fmla="*/ 13244 h 85725"/>
                <a:gd name="connsiteX3" fmla="*/ 13716 w 57150"/>
                <a:gd name="connsiteY3" fmla="*/ 13244 h 85725"/>
                <a:gd name="connsiteX4" fmla="*/ 36004 w 57150"/>
                <a:gd name="connsiteY4" fmla="*/ 5 h 85725"/>
                <a:gd name="connsiteX5" fmla="*/ 60198 w 57150"/>
                <a:gd name="connsiteY5" fmla="*/ 29151 h 85725"/>
                <a:gd name="connsiteX6" fmla="*/ 60198 w 57150"/>
                <a:gd name="connsiteY6" fmla="*/ 94207 h 85725"/>
                <a:gd name="connsiteX7" fmla="*/ 46387 w 57150"/>
                <a:gd name="connsiteY7" fmla="*/ 94207 h 85725"/>
                <a:gd name="connsiteX8" fmla="*/ 46387 w 57150"/>
                <a:gd name="connsiteY8" fmla="*/ 30866 h 85725"/>
                <a:gd name="connsiteX9" fmla="*/ 32861 w 57150"/>
                <a:gd name="connsiteY9" fmla="*/ 12387 h 85725"/>
                <a:gd name="connsiteX10" fmla="*/ 14659 w 57150"/>
                <a:gd name="connsiteY10" fmla="*/ 29604 h 85725"/>
                <a:gd name="connsiteX11" fmla="*/ 14668 w 57150"/>
                <a:gd name="connsiteY11" fmla="*/ 30866 h 85725"/>
                <a:gd name="connsiteX12" fmla="*/ 14668 w 57150"/>
                <a:gd name="connsiteY12" fmla="*/ 94302 h 85725"/>
                <a:gd name="connsiteX13" fmla="*/ 286 w 57150"/>
                <a:gd name="connsiteY13" fmla="*/ 94302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1"/>
                  </a:moveTo>
                  <a:lnTo>
                    <a:pt x="13716" y="2481"/>
                  </a:lnTo>
                  <a:lnTo>
                    <a:pt x="13716" y="13244"/>
                  </a:lnTo>
                  <a:lnTo>
                    <a:pt x="13716" y="13244"/>
                  </a:lnTo>
                  <a:cubicBezTo>
                    <a:pt x="18021" y="4953"/>
                    <a:pt x="26660" y="-178"/>
                    <a:pt x="36004" y="5"/>
                  </a:cubicBezTo>
                  <a:cubicBezTo>
                    <a:pt x="60198" y="5"/>
                    <a:pt x="60198" y="18388"/>
                    <a:pt x="60198" y="29151"/>
                  </a:cubicBezTo>
                  <a:lnTo>
                    <a:pt x="60198" y="94207"/>
                  </a:lnTo>
                  <a:lnTo>
                    <a:pt x="46387" y="94207"/>
                  </a:lnTo>
                  <a:lnTo>
                    <a:pt x="46387" y="30866"/>
                  </a:lnTo>
                  <a:cubicBezTo>
                    <a:pt x="46387" y="23817"/>
                    <a:pt x="45910" y="12387"/>
                    <a:pt x="32861" y="12387"/>
                  </a:cubicBezTo>
                  <a:cubicBezTo>
                    <a:pt x="23079" y="12115"/>
                    <a:pt x="14935" y="19823"/>
                    <a:pt x="14659" y="29604"/>
                  </a:cubicBezTo>
                  <a:cubicBezTo>
                    <a:pt x="14649" y="30025"/>
                    <a:pt x="14649" y="30446"/>
                    <a:pt x="14668" y="30866"/>
                  </a:cubicBezTo>
                  <a:lnTo>
                    <a:pt x="14668" y="94302"/>
                  </a:lnTo>
                  <a:lnTo>
                    <a:pt x="286" y="94302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38">
              <a:extLst>
                <a:ext uri="{FF2B5EF4-FFF2-40B4-BE49-F238E27FC236}">
                  <a16:creationId xmlns:a16="http://schemas.microsoft.com/office/drawing/2014/main" xmlns="" id="{3CDDCD6C-678C-4B2F-BBC9-99059E79FF98}"/>
                </a:ext>
              </a:extLst>
            </p:cNvPr>
            <p:cNvSpPr/>
            <p:nvPr/>
          </p:nvSpPr>
          <p:spPr>
            <a:xfrm>
              <a:off x="10681078" y="1696441"/>
              <a:ext cx="57150" cy="123825"/>
            </a:xfrm>
            <a:custGeom>
              <a:avLst/>
              <a:gdLst>
                <a:gd name="connsiteX0" fmla="*/ 63341 w 57150"/>
                <a:gd name="connsiteY0" fmla="*/ 88585 h 123825"/>
                <a:gd name="connsiteX1" fmla="*/ 32099 w 57150"/>
                <a:gd name="connsiteY1" fmla="*/ 125923 h 123825"/>
                <a:gd name="connsiteX2" fmla="*/ 2000 w 57150"/>
                <a:gd name="connsiteY2" fmla="*/ 102968 h 123825"/>
                <a:gd name="connsiteX3" fmla="*/ 16764 w 57150"/>
                <a:gd name="connsiteY3" fmla="*/ 102968 h 123825"/>
                <a:gd name="connsiteX4" fmla="*/ 31528 w 57150"/>
                <a:gd name="connsiteY4" fmla="*/ 114588 h 123825"/>
                <a:gd name="connsiteX5" fmla="*/ 49339 w 57150"/>
                <a:gd name="connsiteY5" fmla="*/ 94014 h 123825"/>
                <a:gd name="connsiteX6" fmla="*/ 49339 w 57150"/>
                <a:gd name="connsiteY6" fmla="*/ 82013 h 123825"/>
                <a:gd name="connsiteX7" fmla="*/ 49339 w 57150"/>
                <a:gd name="connsiteY7" fmla="*/ 82013 h 123825"/>
                <a:gd name="connsiteX8" fmla="*/ 28575 w 57150"/>
                <a:gd name="connsiteY8" fmla="*/ 94300 h 123825"/>
                <a:gd name="connsiteX9" fmla="*/ 0 w 57150"/>
                <a:gd name="connsiteY9" fmla="*/ 48389 h 123825"/>
                <a:gd name="connsiteX10" fmla="*/ 30004 w 57150"/>
                <a:gd name="connsiteY10" fmla="*/ 2 h 123825"/>
                <a:gd name="connsiteX11" fmla="*/ 49911 w 57150"/>
                <a:gd name="connsiteY11" fmla="*/ 14099 h 123825"/>
                <a:gd name="connsiteX12" fmla="*/ 49911 w 57150"/>
                <a:gd name="connsiteY12" fmla="*/ 14099 h 123825"/>
                <a:gd name="connsiteX13" fmla="*/ 49911 w 57150"/>
                <a:gd name="connsiteY13" fmla="*/ 2574 h 123825"/>
                <a:gd name="connsiteX14" fmla="*/ 63627 w 57150"/>
                <a:gd name="connsiteY14" fmla="*/ 2574 h 123825"/>
                <a:gd name="connsiteX15" fmla="*/ 14573 w 57150"/>
                <a:gd name="connsiteY15" fmla="*/ 48485 h 123825"/>
                <a:gd name="connsiteX16" fmla="*/ 31147 w 57150"/>
                <a:gd name="connsiteY16" fmla="*/ 82108 h 123825"/>
                <a:gd name="connsiteX17" fmla="*/ 50197 w 57150"/>
                <a:gd name="connsiteY17" fmla="*/ 48485 h 123825"/>
                <a:gd name="connsiteX18" fmla="*/ 31718 w 57150"/>
                <a:gd name="connsiteY18" fmla="*/ 12480 h 123825"/>
                <a:gd name="connsiteX19" fmla="*/ 14954 w 57150"/>
                <a:gd name="connsiteY19" fmla="*/ 4848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150" h="123825">
                  <a:moveTo>
                    <a:pt x="63341" y="88585"/>
                  </a:moveTo>
                  <a:cubicBezTo>
                    <a:pt x="63341" y="116017"/>
                    <a:pt x="50673" y="125923"/>
                    <a:pt x="32099" y="125923"/>
                  </a:cubicBezTo>
                  <a:cubicBezTo>
                    <a:pt x="26479" y="125923"/>
                    <a:pt x="4381" y="125923"/>
                    <a:pt x="2000" y="102968"/>
                  </a:cubicBezTo>
                  <a:lnTo>
                    <a:pt x="16764" y="102968"/>
                  </a:lnTo>
                  <a:cubicBezTo>
                    <a:pt x="17431" y="111350"/>
                    <a:pt x="23908" y="114588"/>
                    <a:pt x="31528" y="114588"/>
                  </a:cubicBezTo>
                  <a:cubicBezTo>
                    <a:pt x="50006" y="114588"/>
                    <a:pt x="49339" y="100396"/>
                    <a:pt x="49339" y="94014"/>
                  </a:cubicBezTo>
                  <a:lnTo>
                    <a:pt x="49339" y="82013"/>
                  </a:lnTo>
                  <a:lnTo>
                    <a:pt x="49339" y="82013"/>
                  </a:lnTo>
                  <a:cubicBezTo>
                    <a:pt x="45520" y="89912"/>
                    <a:pt x="37338" y="94753"/>
                    <a:pt x="28575" y="94300"/>
                  </a:cubicBezTo>
                  <a:cubicBezTo>
                    <a:pt x="1810" y="94300"/>
                    <a:pt x="0" y="60581"/>
                    <a:pt x="0" y="48389"/>
                  </a:cubicBezTo>
                  <a:cubicBezTo>
                    <a:pt x="0" y="23529"/>
                    <a:pt x="6667" y="2"/>
                    <a:pt x="30004" y="2"/>
                  </a:cubicBezTo>
                  <a:cubicBezTo>
                    <a:pt x="39005" y="-133"/>
                    <a:pt x="47053" y="5568"/>
                    <a:pt x="49911" y="14099"/>
                  </a:cubicBezTo>
                  <a:lnTo>
                    <a:pt x="49911" y="14099"/>
                  </a:lnTo>
                  <a:lnTo>
                    <a:pt x="49911" y="2574"/>
                  </a:lnTo>
                  <a:lnTo>
                    <a:pt x="63627" y="2574"/>
                  </a:lnTo>
                  <a:close/>
                  <a:moveTo>
                    <a:pt x="14573" y="48485"/>
                  </a:moveTo>
                  <a:cubicBezTo>
                    <a:pt x="14573" y="63344"/>
                    <a:pt x="16764" y="82108"/>
                    <a:pt x="31147" y="82108"/>
                  </a:cubicBezTo>
                  <a:cubicBezTo>
                    <a:pt x="45529" y="82108"/>
                    <a:pt x="50197" y="67344"/>
                    <a:pt x="50197" y="48485"/>
                  </a:cubicBezTo>
                  <a:cubicBezTo>
                    <a:pt x="50197" y="29625"/>
                    <a:pt x="47053" y="12480"/>
                    <a:pt x="31718" y="12480"/>
                  </a:cubicBezTo>
                  <a:cubicBezTo>
                    <a:pt x="18383" y="12480"/>
                    <a:pt x="14954" y="26482"/>
                    <a:pt x="14954" y="48485"/>
                  </a:cubicBezTo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39">
              <a:extLst>
                <a:ext uri="{FF2B5EF4-FFF2-40B4-BE49-F238E27FC236}">
                  <a16:creationId xmlns:a16="http://schemas.microsoft.com/office/drawing/2014/main" xmlns="" id="{8608457C-52BD-4520-A856-1E41646BDE2E}"/>
                </a:ext>
              </a:extLst>
            </p:cNvPr>
            <p:cNvSpPr/>
            <p:nvPr/>
          </p:nvSpPr>
          <p:spPr>
            <a:xfrm>
              <a:off x="10820905" y="1666249"/>
              <a:ext cx="66675" cy="123825"/>
            </a:xfrm>
            <a:custGeom>
              <a:avLst/>
              <a:gdLst>
                <a:gd name="connsiteX0" fmla="*/ 56579 w 66675"/>
                <a:gd name="connsiteY0" fmla="*/ 33909 h 123825"/>
                <a:gd name="connsiteX1" fmla="*/ 37529 w 66675"/>
                <a:gd name="connsiteY1" fmla="*/ 12192 h 123825"/>
                <a:gd name="connsiteX2" fmla="*/ 17364 w 66675"/>
                <a:gd name="connsiteY2" fmla="*/ 28171 h 123825"/>
                <a:gd name="connsiteX3" fmla="*/ 17336 w 66675"/>
                <a:gd name="connsiteY3" fmla="*/ 32099 h 123825"/>
                <a:gd name="connsiteX4" fmla="*/ 75057 w 66675"/>
                <a:gd name="connsiteY4" fmla="*/ 90678 h 123825"/>
                <a:gd name="connsiteX5" fmla="*/ 36957 w 66675"/>
                <a:gd name="connsiteY5" fmla="*/ 126968 h 123825"/>
                <a:gd name="connsiteX6" fmla="*/ 0 w 66675"/>
                <a:gd name="connsiteY6" fmla="*/ 86201 h 123825"/>
                <a:gd name="connsiteX7" fmla="*/ 15050 w 66675"/>
                <a:gd name="connsiteY7" fmla="*/ 86201 h 123825"/>
                <a:gd name="connsiteX8" fmla="*/ 38005 w 66675"/>
                <a:gd name="connsiteY8" fmla="*/ 114776 h 123825"/>
                <a:gd name="connsiteX9" fmla="*/ 59265 w 66675"/>
                <a:gd name="connsiteY9" fmla="*/ 94908 h 123825"/>
                <a:gd name="connsiteX10" fmla="*/ 59246 w 66675"/>
                <a:gd name="connsiteY10" fmla="*/ 93154 h 123825"/>
                <a:gd name="connsiteX11" fmla="*/ 1524 w 66675"/>
                <a:gd name="connsiteY11" fmla="*/ 33719 h 123825"/>
                <a:gd name="connsiteX12" fmla="*/ 37338 w 66675"/>
                <a:gd name="connsiteY12" fmla="*/ 0 h 123825"/>
                <a:gd name="connsiteX13" fmla="*/ 71628 w 66675"/>
                <a:gd name="connsiteY13" fmla="*/ 3409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675" h="123825">
                  <a:moveTo>
                    <a:pt x="56579" y="33909"/>
                  </a:moveTo>
                  <a:cubicBezTo>
                    <a:pt x="56579" y="21050"/>
                    <a:pt x="52007" y="12192"/>
                    <a:pt x="37529" y="12192"/>
                  </a:cubicBezTo>
                  <a:cubicBezTo>
                    <a:pt x="27546" y="11036"/>
                    <a:pt x="18517" y="18190"/>
                    <a:pt x="17364" y="28171"/>
                  </a:cubicBezTo>
                  <a:cubicBezTo>
                    <a:pt x="17212" y="29475"/>
                    <a:pt x="17202" y="30792"/>
                    <a:pt x="17336" y="32099"/>
                  </a:cubicBezTo>
                  <a:cubicBezTo>
                    <a:pt x="17336" y="66580"/>
                    <a:pt x="75057" y="46006"/>
                    <a:pt x="75057" y="90678"/>
                  </a:cubicBezTo>
                  <a:cubicBezTo>
                    <a:pt x="75057" y="119253"/>
                    <a:pt x="54292" y="126968"/>
                    <a:pt x="36957" y="126968"/>
                  </a:cubicBezTo>
                  <a:cubicBezTo>
                    <a:pt x="8382" y="126968"/>
                    <a:pt x="0" y="112204"/>
                    <a:pt x="0" y="86201"/>
                  </a:cubicBezTo>
                  <a:lnTo>
                    <a:pt x="15050" y="86201"/>
                  </a:lnTo>
                  <a:cubicBezTo>
                    <a:pt x="15050" y="99917"/>
                    <a:pt x="15907" y="114776"/>
                    <a:pt x="38005" y="114776"/>
                  </a:cubicBezTo>
                  <a:cubicBezTo>
                    <a:pt x="49359" y="115159"/>
                    <a:pt x="58874" y="106265"/>
                    <a:pt x="59265" y="94908"/>
                  </a:cubicBezTo>
                  <a:cubicBezTo>
                    <a:pt x="59284" y="94323"/>
                    <a:pt x="59274" y="93738"/>
                    <a:pt x="59246" y="93154"/>
                  </a:cubicBezTo>
                  <a:cubicBezTo>
                    <a:pt x="59246" y="58579"/>
                    <a:pt x="1524" y="78581"/>
                    <a:pt x="1524" y="33719"/>
                  </a:cubicBezTo>
                  <a:cubicBezTo>
                    <a:pt x="1524" y="22384"/>
                    <a:pt x="6287" y="0"/>
                    <a:pt x="37338" y="0"/>
                  </a:cubicBezTo>
                  <a:cubicBezTo>
                    <a:pt x="60674" y="0"/>
                    <a:pt x="71247" y="11621"/>
                    <a:pt x="71628" y="3409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0">
              <a:extLst>
                <a:ext uri="{FF2B5EF4-FFF2-40B4-BE49-F238E27FC236}">
                  <a16:creationId xmlns:a16="http://schemas.microsoft.com/office/drawing/2014/main" xmlns="" id="{0704FF20-1476-4B0A-9CC4-889DE9B07C4D}"/>
                </a:ext>
              </a:extLst>
            </p:cNvPr>
            <p:cNvSpPr/>
            <p:nvPr/>
          </p:nvSpPr>
          <p:spPr>
            <a:xfrm>
              <a:off x="10917870" y="1696348"/>
              <a:ext cx="57150" cy="95250"/>
            </a:xfrm>
            <a:custGeom>
              <a:avLst/>
              <a:gdLst>
                <a:gd name="connsiteX0" fmla="*/ 15145 w 57150"/>
                <a:gd name="connsiteY0" fmla="*/ 50292 h 95250"/>
                <a:gd name="connsiteX1" fmla="*/ 32766 w 57150"/>
                <a:gd name="connsiteY1" fmla="*/ 85630 h 95250"/>
                <a:gd name="connsiteX2" fmla="*/ 48387 w 57150"/>
                <a:gd name="connsiteY2" fmla="*/ 64389 h 95250"/>
                <a:gd name="connsiteX3" fmla="*/ 62770 w 57150"/>
                <a:gd name="connsiteY3" fmla="*/ 64389 h 95250"/>
                <a:gd name="connsiteX4" fmla="*/ 32985 w 57150"/>
                <a:gd name="connsiteY4" fmla="*/ 96655 h 95250"/>
                <a:gd name="connsiteX5" fmla="*/ 31909 w 57150"/>
                <a:gd name="connsiteY5" fmla="*/ 96679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6 w 57150"/>
                <a:gd name="connsiteY8" fmla="*/ 44196 h 95250"/>
                <a:gd name="connsiteX9" fmla="*/ 63436 w 57150"/>
                <a:gd name="connsiteY9" fmla="*/ 50006 h 95250"/>
                <a:gd name="connsiteX10" fmla="*/ 48387 w 57150"/>
                <a:gd name="connsiteY10" fmla="*/ 38957 h 95250"/>
                <a:gd name="connsiteX11" fmla="*/ 48387 w 57150"/>
                <a:gd name="connsiteY11" fmla="*/ 34004 h 95250"/>
                <a:gd name="connsiteX12" fmla="*/ 32480 w 57150"/>
                <a:gd name="connsiteY12" fmla="*/ 11525 h 95250"/>
                <a:gd name="connsiteX13" fmla="*/ 15716 w 57150"/>
                <a:gd name="connsiteY13" fmla="*/ 35528 h 95250"/>
                <a:gd name="connsiteX14" fmla="*/ 15716 w 57150"/>
                <a:gd name="connsiteY14" fmla="*/ 3895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5145" y="50292"/>
                  </a:moveTo>
                  <a:cubicBezTo>
                    <a:pt x="15145" y="64294"/>
                    <a:pt x="15145" y="85630"/>
                    <a:pt x="32766" y="85630"/>
                  </a:cubicBezTo>
                  <a:cubicBezTo>
                    <a:pt x="46482" y="85630"/>
                    <a:pt x="48387" y="71247"/>
                    <a:pt x="48387" y="64389"/>
                  </a:cubicBezTo>
                  <a:lnTo>
                    <a:pt x="62770" y="64389"/>
                  </a:lnTo>
                  <a:cubicBezTo>
                    <a:pt x="63455" y="81524"/>
                    <a:pt x="50120" y="95970"/>
                    <a:pt x="32985" y="96655"/>
                  </a:cubicBezTo>
                  <a:cubicBezTo>
                    <a:pt x="32623" y="96668"/>
                    <a:pt x="32271" y="96677"/>
                    <a:pt x="31909" y="96679"/>
                  </a:cubicBezTo>
                  <a:cubicBezTo>
                    <a:pt x="9430" y="96679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6" y="24479"/>
                    <a:pt x="63436" y="44196"/>
                  </a:cubicBezTo>
                  <a:lnTo>
                    <a:pt x="63436" y="50006"/>
                  </a:lnTo>
                  <a:close/>
                  <a:moveTo>
                    <a:pt x="48387" y="38957"/>
                  </a:moveTo>
                  <a:lnTo>
                    <a:pt x="48387" y="34004"/>
                  </a:lnTo>
                  <a:cubicBezTo>
                    <a:pt x="48387" y="23717"/>
                    <a:pt x="45148" y="11525"/>
                    <a:pt x="32480" y="11525"/>
                  </a:cubicBezTo>
                  <a:cubicBezTo>
                    <a:pt x="17431" y="11525"/>
                    <a:pt x="15716" y="30004"/>
                    <a:pt x="15716" y="35528"/>
                  </a:cubicBezTo>
                  <a:lnTo>
                    <a:pt x="15716" y="3895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1">
              <a:extLst>
                <a:ext uri="{FF2B5EF4-FFF2-40B4-BE49-F238E27FC236}">
                  <a16:creationId xmlns:a16="http://schemas.microsoft.com/office/drawing/2014/main" xmlns="" id="{D0AAB202-B734-4359-8826-622824C58FD8}"/>
                </a:ext>
              </a:extLst>
            </p:cNvPr>
            <p:cNvSpPr/>
            <p:nvPr/>
          </p:nvSpPr>
          <p:spPr>
            <a:xfrm>
              <a:off x="11007309" y="1696533"/>
              <a:ext cx="57150" cy="85725"/>
            </a:xfrm>
            <a:custGeom>
              <a:avLst/>
              <a:gdLst>
                <a:gd name="connsiteX0" fmla="*/ 0 w 57150"/>
                <a:gd name="connsiteY0" fmla="*/ 2482 h 85725"/>
                <a:gd name="connsiteX1" fmla="*/ 13716 w 57150"/>
                <a:gd name="connsiteY1" fmla="*/ 2482 h 85725"/>
                <a:gd name="connsiteX2" fmla="*/ 13716 w 57150"/>
                <a:gd name="connsiteY2" fmla="*/ 13246 h 85725"/>
                <a:gd name="connsiteX3" fmla="*/ 13716 w 57150"/>
                <a:gd name="connsiteY3" fmla="*/ 13246 h 85725"/>
                <a:gd name="connsiteX4" fmla="*/ 36004 w 57150"/>
                <a:gd name="connsiteY4" fmla="*/ 6 h 85725"/>
                <a:gd name="connsiteX5" fmla="*/ 60198 w 57150"/>
                <a:gd name="connsiteY5" fmla="*/ 29152 h 85725"/>
                <a:gd name="connsiteX6" fmla="*/ 60198 w 57150"/>
                <a:gd name="connsiteY6" fmla="*/ 94208 h 85725"/>
                <a:gd name="connsiteX7" fmla="*/ 45815 w 57150"/>
                <a:gd name="connsiteY7" fmla="*/ 94208 h 85725"/>
                <a:gd name="connsiteX8" fmla="*/ 45815 w 57150"/>
                <a:gd name="connsiteY8" fmla="*/ 30867 h 85725"/>
                <a:gd name="connsiteX9" fmla="*/ 32290 w 57150"/>
                <a:gd name="connsiteY9" fmla="*/ 12388 h 85725"/>
                <a:gd name="connsiteX10" fmla="*/ 14364 w 57150"/>
                <a:gd name="connsiteY10" fmla="*/ 29896 h 85725"/>
                <a:gd name="connsiteX11" fmla="*/ 14383 w 57150"/>
                <a:gd name="connsiteY11" fmla="*/ 30867 h 85725"/>
                <a:gd name="connsiteX12" fmla="*/ 14383 w 57150"/>
                <a:gd name="connsiteY12" fmla="*/ 94303 h 85725"/>
                <a:gd name="connsiteX13" fmla="*/ 0 w 57150"/>
                <a:gd name="connsiteY13" fmla="*/ 94303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85725">
                  <a:moveTo>
                    <a:pt x="0" y="2482"/>
                  </a:moveTo>
                  <a:lnTo>
                    <a:pt x="13716" y="2482"/>
                  </a:lnTo>
                  <a:lnTo>
                    <a:pt x="13716" y="13246"/>
                  </a:lnTo>
                  <a:lnTo>
                    <a:pt x="13716" y="13246"/>
                  </a:lnTo>
                  <a:cubicBezTo>
                    <a:pt x="18002" y="4938"/>
                    <a:pt x="26660" y="-200"/>
                    <a:pt x="36004" y="6"/>
                  </a:cubicBezTo>
                  <a:cubicBezTo>
                    <a:pt x="60198" y="6"/>
                    <a:pt x="60198" y="18389"/>
                    <a:pt x="60198" y="29152"/>
                  </a:cubicBezTo>
                  <a:lnTo>
                    <a:pt x="60198" y="94208"/>
                  </a:lnTo>
                  <a:lnTo>
                    <a:pt x="45815" y="94208"/>
                  </a:lnTo>
                  <a:lnTo>
                    <a:pt x="45815" y="30867"/>
                  </a:lnTo>
                  <a:cubicBezTo>
                    <a:pt x="45815" y="23818"/>
                    <a:pt x="45339" y="12388"/>
                    <a:pt x="32290" y="12388"/>
                  </a:cubicBezTo>
                  <a:cubicBezTo>
                    <a:pt x="22507" y="12274"/>
                    <a:pt x="14478" y="20113"/>
                    <a:pt x="14364" y="29896"/>
                  </a:cubicBezTo>
                  <a:cubicBezTo>
                    <a:pt x="14364" y="30220"/>
                    <a:pt x="14373" y="30544"/>
                    <a:pt x="14383" y="30867"/>
                  </a:cubicBezTo>
                  <a:lnTo>
                    <a:pt x="14383" y="94303"/>
                  </a:lnTo>
                  <a:lnTo>
                    <a:pt x="0" y="9430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2">
              <a:extLst>
                <a:ext uri="{FF2B5EF4-FFF2-40B4-BE49-F238E27FC236}">
                  <a16:creationId xmlns:a16="http://schemas.microsoft.com/office/drawing/2014/main" xmlns="" id="{954E8DF4-7D3A-4542-A69D-0A85A4DD315D}"/>
                </a:ext>
              </a:extLst>
            </p:cNvPr>
            <p:cNvSpPr/>
            <p:nvPr/>
          </p:nvSpPr>
          <p:spPr>
            <a:xfrm>
              <a:off x="11091415" y="1696539"/>
              <a:ext cx="57150" cy="95250"/>
            </a:xfrm>
            <a:custGeom>
              <a:avLst/>
              <a:gdLst>
                <a:gd name="connsiteX0" fmla="*/ 44577 w 57150"/>
                <a:gd name="connsiteY0" fmla="*/ 29813 h 95250"/>
                <a:gd name="connsiteX1" fmla="*/ 31051 w 57150"/>
                <a:gd name="connsiteY1" fmla="*/ 11811 h 95250"/>
                <a:gd name="connsiteX2" fmla="*/ 16173 w 57150"/>
                <a:gd name="connsiteY2" fmla="*/ 23184 h 95250"/>
                <a:gd name="connsiteX3" fmla="*/ 16097 w 57150"/>
                <a:gd name="connsiteY3" fmla="*/ 25908 h 95250"/>
                <a:gd name="connsiteX4" fmla="*/ 38671 w 57150"/>
                <a:gd name="connsiteY4" fmla="*/ 42481 h 95250"/>
                <a:gd name="connsiteX5" fmla="*/ 61150 w 57150"/>
                <a:gd name="connsiteY5" fmla="*/ 68390 h 95250"/>
                <a:gd name="connsiteX6" fmla="*/ 36214 w 57150"/>
                <a:gd name="connsiteY6" fmla="*/ 97049 h 95250"/>
                <a:gd name="connsiteX7" fmla="*/ 31528 w 57150"/>
                <a:gd name="connsiteY7" fmla="*/ 96965 h 95250"/>
                <a:gd name="connsiteX8" fmla="*/ 0 w 57150"/>
                <a:gd name="connsiteY8" fmla="*/ 64389 h 95250"/>
                <a:gd name="connsiteX9" fmla="*/ 14383 w 57150"/>
                <a:gd name="connsiteY9" fmla="*/ 64389 h 95250"/>
                <a:gd name="connsiteX10" fmla="*/ 31528 w 57150"/>
                <a:gd name="connsiteY10" fmla="*/ 85630 h 95250"/>
                <a:gd name="connsiteX11" fmla="*/ 46768 w 57150"/>
                <a:gd name="connsiteY11" fmla="*/ 72159 h 95250"/>
                <a:gd name="connsiteX12" fmla="*/ 46768 w 57150"/>
                <a:gd name="connsiteY12" fmla="*/ 70390 h 95250"/>
                <a:gd name="connsiteX13" fmla="*/ 24289 w 57150"/>
                <a:gd name="connsiteY13" fmla="*/ 51340 h 95250"/>
                <a:gd name="connsiteX14" fmla="*/ 1714 w 57150"/>
                <a:gd name="connsiteY14" fmla="*/ 25336 h 95250"/>
                <a:gd name="connsiteX15" fmla="*/ 31051 w 57150"/>
                <a:gd name="connsiteY15" fmla="*/ 0 h 95250"/>
                <a:gd name="connsiteX16" fmla="*/ 58960 w 57150"/>
                <a:gd name="connsiteY16" fmla="*/ 2933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7150" h="95250">
                  <a:moveTo>
                    <a:pt x="44577" y="29813"/>
                  </a:moveTo>
                  <a:cubicBezTo>
                    <a:pt x="44577" y="18193"/>
                    <a:pt x="41434" y="11811"/>
                    <a:pt x="31051" y="11811"/>
                  </a:cubicBezTo>
                  <a:cubicBezTo>
                    <a:pt x="23803" y="10844"/>
                    <a:pt x="17145" y="15936"/>
                    <a:pt x="16173" y="23184"/>
                  </a:cubicBezTo>
                  <a:cubicBezTo>
                    <a:pt x="16059" y="24087"/>
                    <a:pt x="16031" y="24999"/>
                    <a:pt x="16097" y="25908"/>
                  </a:cubicBezTo>
                  <a:cubicBezTo>
                    <a:pt x="16097" y="36671"/>
                    <a:pt x="27432" y="38767"/>
                    <a:pt x="38671" y="42481"/>
                  </a:cubicBezTo>
                  <a:cubicBezTo>
                    <a:pt x="49911" y="46196"/>
                    <a:pt x="61150" y="50197"/>
                    <a:pt x="61150" y="68390"/>
                  </a:cubicBezTo>
                  <a:cubicBezTo>
                    <a:pt x="62179" y="83188"/>
                    <a:pt x="51016" y="96020"/>
                    <a:pt x="36214" y="97049"/>
                  </a:cubicBezTo>
                  <a:cubicBezTo>
                    <a:pt x="34652" y="97158"/>
                    <a:pt x="33090" y="97129"/>
                    <a:pt x="31528" y="96965"/>
                  </a:cubicBezTo>
                  <a:cubicBezTo>
                    <a:pt x="381" y="96965"/>
                    <a:pt x="0" y="73819"/>
                    <a:pt x="0" y="64389"/>
                  </a:cubicBezTo>
                  <a:lnTo>
                    <a:pt x="14383" y="64389"/>
                  </a:lnTo>
                  <a:cubicBezTo>
                    <a:pt x="14383" y="75533"/>
                    <a:pt x="17431" y="85630"/>
                    <a:pt x="31528" y="85630"/>
                  </a:cubicBezTo>
                  <a:cubicBezTo>
                    <a:pt x="39453" y="86118"/>
                    <a:pt x="46282" y="80087"/>
                    <a:pt x="46768" y="72159"/>
                  </a:cubicBezTo>
                  <a:cubicBezTo>
                    <a:pt x="46806" y="71570"/>
                    <a:pt x="46806" y="70978"/>
                    <a:pt x="46768" y="70390"/>
                  </a:cubicBezTo>
                  <a:cubicBezTo>
                    <a:pt x="46768" y="58102"/>
                    <a:pt x="35433" y="55531"/>
                    <a:pt x="24289" y="51340"/>
                  </a:cubicBezTo>
                  <a:cubicBezTo>
                    <a:pt x="13144" y="47149"/>
                    <a:pt x="1714" y="44291"/>
                    <a:pt x="1714" y="25336"/>
                  </a:cubicBezTo>
                  <a:cubicBezTo>
                    <a:pt x="1714" y="8192"/>
                    <a:pt x="15049" y="0"/>
                    <a:pt x="31051" y="0"/>
                  </a:cubicBezTo>
                  <a:cubicBezTo>
                    <a:pt x="57721" y="0"/>
                    <a:pt x="58769" y="18574"/>
                    <a:pt x="58960" y="29337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3">
              <a:extLst>
                <a:ext uri="{FF2B5EF4-FFF2-40B4-BE49-F238E27FC236}">
                  <a16:creationId xmlns:a16="http://schemas.microsoft.com/office/drawing/2014/main" xmlns="" id="{D2362678-7AD0-498C-B35E-866335C7A3D5}"/>
                </a:ext>
              </a:extLst>
            </p:cNvPr>
            <p:cNvSpPr/>
            <p:nvPr/>
          </p:nvSpPr>
          <p:spPr>
            <a:xfrm>
              <a:off x="11174092" y="1696539"/>
              <a:ext cx="57150" cy="95250"/>
            </a:xfrm>
            <a:custGeom>
              <a:avLst/>
              <a:gdLst>
                <a:gd name="connsiteX0" fmla="*/ 14859 w 57150"/>
                <a:gd name="connsiteY0" fmla="*/ 50101 h 95250"/>
                <a:gd name="connsiteX1" fmla="*/ 32480 w 57150"/>
                <a:gd name="connsiteY1" fmla="*/ 85439 h 95250"/>
                <a:gd name="connsiteX2" fmla="*/ 48101 w 57150"/>
                <a:gd name="connsiteY2" fmla="*/ 64198 h 95250"/>
                <a:gd name="connsiteX3" fmla="*/ 62484 w 57150"/>
                <a:gd name="connsiteY3" fmla="*/ 64198 h 95250"/>
                <a:gd name="connsiteX4" fmla="*/ 32699 w 57150"/>
                <a:gd name="connsiteY4" fmla="*/ 96464 h 95250"/>
                <a:gd name="connsiteX5" fmla="*/ 31718 w 57150"/>
                <a:gd name="connsiteY5" fmla="*/ 96488 h 95250"/>
                <a:gd name="connsiteX6" fmla="*/ 0 w 57150"/>
                <a:gd name="connsiteY6" fmla="*/ 49530 h 95250"/>
                <a:gd name="connsiteX7" fmla="*/ 32766 w 57150"/>
                <a:gd name="connsiteY7" fmla="*/ 0 h 95250"/>
                <a:gd name="connsiteX8" fmla="*/ 63437 w 57150"/>
                <a:gd name="connsiteY8" fmla="*/ 44196 h 95250"/>
                <a:gd name="connsiteX9" fmla="*/ 63437 w 57150"/>
                <a:gd name="connsiteY9" fmla="*/ 50006 h 95250"/>
                <a:gd name="connsiteX10" fmla="*/ 48101 w 57150"/>
                <a:gd name="connsiteY10" fmla="*/ 38767 h 95250"/>
                <a:gd name="connsiteX11" fmla="*/ 48101 w 57150"/>
                <a:gd name="connsiteY11" fmla="*/ 33814 h 95250"/>
                <a:gd name="connsiteX12" fmla="*/ 32195 w 57150"/>
                <a:gd name="connsiteY12" fmla="*/ 11335 h 95250"/>
                <a:gd name="connsiteX13" fmla="*/ 15430 w 57150"/>
                <a:gd name="connsiteY13" fmla="*/ 35338 h 95250"/>
                <a:gd name="connsiteX14" fmla="*/ 15430 w 57150"/>
                <a:gd name="connsiteY14" fmla="*/ 3876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150" h="95250">
                  <a:moveTo>
                    <a:pt x="14859" y="50101"/>
                  </a:moveTo>
                  <a:cubicBezTo>
                    <a:pt x="14859" y="64103"/>
                    <a:pt x="14859" y="85439"/>
                    <a:pt x="32480" y="85439"/>
                  </a:cubicBezTo>
                  <a:cubicBezTo>
                    <a:pt x="46196" y="85439"/>
                    <a:pt x="48101" y="71056"/>
                    <a:pt x="48101" y="64198"/>
                  </a:cubicBezTo>
                  <a:lnTo>
                    <a:pt x="62484" y="64198"/>
                  </a:lnTo>
                  <a:cubicBezTo>
                    <a:pt x="63170" y="81334"/>
                    <a:pt x="49835" y="95780"/>
                    <a:pt x="32699" y="96464"/>
                  </a:cubicBezTo>
                  <a:cubicBezTo>
                    <a:pt x="32366" y="96478"/>
                    <a:pt x="32042" y="96485"/>
                    <a:pt x="31718" y="96488"/>
                  </a:cubicBezTo>
                  <a:cubicBezTo>
                    <a:pt x="9525" y="96488"/>
                    <a:pt x="0" y="81058"/>
                    <a:pt x="0" y="49530"/>
                  </a:cubicBezTo>
                  <a:cubicBezTo>
                    <a:pt x="0" y="26575"/>
                    <a:pt x="4477" y="0"/>
                    <a:pt x="32766" y="0"/>
                  </a:cubicBezTo>
                  <a:cubicBezTo>
                    <a:pt x="61055" y="0"/>
                    <a:pt x="63437" y="24479"/>
                    <a:pt x="63437" y="44196"/>
                  </a:cubicBezTo>
                  <a:lnTo>
                    <a:pt x="63437" y="50006"/>
                  </a:lnTo>
                  <a:close/>
                  <a:moveTo>
                    <a:pt x="48101" y="38767"/>
                  </a:moveTo>
                  <a:lnTo>
                    <a:pt x="48101" y="33814"/>
                  </a:lnTo>
                  <a:cubicBezTo>
                    <a:pt x="48101" y="23527"/>
                    <a:pt x="44863" y="11335"/>
                    <a:pt x="32195" y="11335"/>
                  </a:cubicBezTo>
                  <a:cubicBezTo>
                    <a:pt x="17145" y="11335"/>
                    <a:pt x="15430" y="29813"/>
                    <a:pt x="15430" y="35338"/>
                  </a:cubicBezTo>
                  <a:lnTo>
                    <a:pt x="15430" y="3876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8727786" y="941683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8736168" y="927871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9765574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956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1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578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-1"/>
            <a:ext cx="6096001" cy="68580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 hasCustomPrompt="1"/>
          </p:nvPr>
        </p:nvSpPr>
        <p:spPr>
          <a:xfrm>
            <a:off x="6419850" y="3209709"/>
            <a:ext cx="5437187" cy="43858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dirty="0"/>
              <a:t>Zwischenseite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1838105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1 gr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566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5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-1"/>
            <a:ext cx="6096001" cy="68580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 hasCustomPrompt="1"/>
          </p:nvPr>
        </p:nvSpPr>
        <p:spPr>
          <a:xfrm>
            <a:off x="6419850" y="3209709"/>
            <a:ext cx="5437187" cy="43858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de-DE" dirty="0"/>
              <a:t>Zwischenseite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361683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seite 1 dunkel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74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7" name="Bildplatzhalter 9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-1"/>
            <a:ext cx="6096001" cy="6858000"/>
          </a:xfrm>
          <a:solidFill>
            <a:schemeClr val="accent5"/>
          </a:solidFill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 hasCustomPrompt="1"/>
          </p:nvPr>
        </p:nvSpPr>
        <p:spPr>
          <a:xfrm>
            <a:off x="6419850" y="3209709"/>
            <a:ext cx="5437187" cy="43858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seite</a:t>
            </a:r>
          </a:p>
        </p:txBody>
      </p:sp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3FA55DE-5078-4700-80C3-3EC6802A9B2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grpSp>
        <p:nvGrpSpPr>
          <p:cNvPr id="78" name="Gruppieren 77"/>
          <p:cNvGrpSpPr>
            <a:grpSpLocks noChangeAspect="1"/>
          </p:cNvGrpSpPr>
          <p:nvPr userDrawn="1"/>
        </p:nvGrpSpPr>
        <p:grpSpPr>
          <a:xfrm>
            <a:off x="10410826" y="319028"/>
            <a:ext cx="1440000" cy="363419"/>
            <a:chOff x="4684298" y="683364"/>
            <a:chExt cx="2507933" cy="632937"/>
          </a:xfrm>
          <a:solidFill>
            <a:schemeClr val="bg1"/>
          </a:solidFill>
        </p:grpSpPr>
        <p:sp>
          <p:nvSpPr>
            <p:cNvPr id="79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5465253" y="783758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5705758" y="786044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5938074" y="783948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6153149" y="786044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6380987" y="786044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6628065" y="786044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6973918" y="786044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6719504" y="783758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5457538" y="1050077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5630988" y="1051315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6825804" y="1051696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6429374" y="1050172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5813582" y="1050172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6012274" y="1051696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6225729" y="1051696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6627017" y="1051505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5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7030306" y="1050077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4684298" y="697176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4692680" y="683364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1650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1790886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" name="think-cell Folie" r:id="rId51" imgW="270" imgH="270" progId="TCLayout.ActiveDocument.1">
                  <p:embed/>
                </p:oleObj>
              </mc:Choice>
              <mc:Fallback>
                <p:oleObj name="think-cell Folie" r:id="rId5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5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grpSp>
        <p:nvGrpSpPr>
          <p:cNvPr id="104" name="Gruppieren 103"/>
          <p:cNvGrpSpPr>
            <a:grpSpLocks noChangeAspect="1"/>
          </p:cNvGrpSpPr>
          <p:nvPr/>
        </p:nvGrpSpPr>
        <p:grpSpPr>
          <a:xfrm>
            <a:off x="10410826" y="319029"/>
            <a:ext cx="1440000" cy="363418"/>
            <a:chOff x="9420775" y="887675"/>
            <a:chExt cx="2507933" cy="632937"/>
          </a:xfrm>
        </p:grpSpPr>
        <p:sp>
          <p:nvSpPr>
            <p:cNvPr id="62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10201730" y="988069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10442235" y="990355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10674551" y="988259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889626" y="990355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1117464" y="990355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1364542" y="990355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710395" y="990355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1455981" y="988069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10194015" y="1254388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10367465" y="1255626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1562281" y="1256007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1165851" y="1254483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10550059" y="1254483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748751" y="1256007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962206" y="1256007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1363494" y="1255816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766783" y="1254388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9420775" y="901487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9429157" y="887675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" name="Rechteck 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000" b="1" i="0" baseline="0" dirty="0"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962" y="1304360"/>
            <a:ext cx="11522075" cy="43858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963" y="1924556"/>
            <a:ext cx="10075864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776494" y="6621080"/>
            <a:ext cx="7239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200" spc="30" baseline="0">
                <a:solidFill>
                  <a:srgbClr val="7B7C7E"/>
                </a:solidFill>
              </a:defRPr>
            </a:lvl1pPr>
          </a:lstStyle>
          <a:p>
            <a:fld id="{1EEB67B5-CB94-49E5-BD3A-CA9A8BA6EC81}" type="datetime1">
              <a:rPr lang="de-AT" smtClean="0"/>
              <a:t>04.10.2019</a:t>
            </a:fld>
            <a:endParaRPr lang="de-AT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34962" y="6621080"/>
            <a:ext cx="6084888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spc="30" baseline="0">
                <a:solidFill>
                  <a:srgbClr val="7B7C7E"/>
                </a:solidFill>
              </a:defRPr>
            </a:lvl1pPr>
          </a:lstStyle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5687" y="6621080"/>
            <a:ext cx="64134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200" spc="30" baseline="0">
                <a:solidFill>
                  <a:srgbClr val="7B7C7E"/>
                </a:solidFill>
              </a:defRPr>
            </a:lvl1pPr>
          </a:lstStyle>
          <a:p>
            <a:fld id="{57D9A589-7E22-4862-9353-073804550AC0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655885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7" r:id="rId7"/>
    <p:sldLayoutId id="2147483689" r:id="rId8"/>
    <p:sldLayoutId id="2147483690" r:id="rId9"/>
    <p:sldLayoutId id="2147483684" r:id="rId10"/>
    <p:sldLayoutId id="2147483691" r:id="rId11"/>
    <p:sldLayoutId id="2147483668" r:id="rId12"/>
    <p:sldLayoutId id="2147483669" r:id="rId13"/>
    <p:sldLayoutId id="2147483670" r:id="rId14"/>
    <p:sldLayoutId id="2147483694" r:id="rId15"/>
    <p:sldLayoutId id="2147483695" r:id="rId16"/>
    <p:sldLayoutId id="2147483696" r:id="rId17"/>
    <p:sldLayoutId id="2147483653" r:id="rId18"/>
    <p:sldLayoutId id="2147483676" r:id="rId19"/>
    <p:sldLayoutId id="2147483697" r:id="rId20"/>
    <p:sldLayoutId id="2147483662" r:id="rId21"/>
    <p:sldLayoutId id="2147483664" r:id="rId22"/>
    <p:sldLayoutId id="2147483700" r:id="rId23"/>
    <p:sldLayoutId id="2147483701" r:id="rId24"/>
    <p:sldLayoutId id="2147483663" r:id="rId25"/>
    <p:sldLayoutId id="2147483665" r:id="rId26"/>
    <p:sldLayoutId id="2147483698" r:id="rId27"/>
    <p:sldLayoutId id="2147483699" r:id="rId28"/>
    <p:sldLayoutId id="2147483659" r:id="rId29"/>
    <p:sldLayoutId id="2147483679" r:id="rId30"/>
    <p:sldLayoutId id="2147483680" r:id="rId31"/>
    <p:sldLayoutId id="2147483681" r:id="rId32"/>
    <p:sldLayoutId id="2147483660" r:id="rId33"/>
    <p:sldLayoutId id="2147483661" r:id="rId34"/>
    <p:sldLayoutId id="2147483666" r:id="rId35"/>
    <p:sldLayoutId id="2147483677" r:id="rId36"/>
    <p:sldLayoutId id="2147483685" r:id="rId37"/>
    <p:sldLayoutId id="2147483678" r:id="rId38"/>
    <p:sldLayoutId id="2147483682" r:id="rId39"/>
    <p:sldLayoutId id="2147483683" r:id="rId40"/>
    <p:sldLayoutId id="2147483672" r:id="rId41"/>
    <p:sldLayoutId id="2147483686" r:id="rId42"/>
    <p:sldLayoutId id="2147483673" r:id="rId43"/>
    <p:sldLayoutId id="2147483674" r:id="rId44"/>
    <p:sldLayoutId id="2147483687" r:id="rId45"/>
    <p:sldLayoutId id="2147483688" r:id="rId46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000" b="1" kern="1200" spc="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kern="1200" spc="30" baseline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2000" kern="1200" spc="30" baseline="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30" baseline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98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2000" kern="1200" spc="30" baseline="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2698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 spc="3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4133" userDrawn="1">
          <p15:clr>
            <a:srgbClr val="F26B43"/>
          </p15:clr>
        </p15:guide>
        <p15:guide id="4" orient="horz" pos="1049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1253" userDrawn="1">
          <p15:clr>
            <a:srgbClr val="F26B43"/>
          </p15:clr>
        </p15:guide>
        <p15:guide id="7" orient="horz" pos="2160" userDrawn="1">
          <p15:clr>
            <a:srgbClr val="F26B43"/>
          </p15:clr>
        </p15:guide>
        <p15:guide id="8" pos="3636" userDrawn="1">
          <p15:clr>
            <a:srgbClr val="F26B43"/>
          </p15:clr>
        </p15:guide>
        <p15:guide id="9" pos="4044" userDrawn="1">
          <p15:clr>
            <a:srgbClr val="F26B43"/>
          </p15:clr>
        </p15:guide>
        <p15:guide id="10" pos="6562" userDrawn="1">
          <p15:clr>
            <a:srgbClr val="F26B43"/>
          </p15:clr>
        </p15:guide>
        <p15:guide id="11" pos="7469" userDrawn="1">
          <p15:clr>
            <a:srgbClr val="F26B43"/>
          </p15:clr>
        </p15:guide>
        <p15:guide id="12" pos="21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9.xml"/><Relationship Id="rId7" Type="http://schemas.openxmlformats.org/officeDocument/2006/relationships/image" Target="../media/image5.jpeg"/><Relationship Id="rId2" Type="http://schemas.openxmlformats.org/officeDocument/2006/relationships/tags" Target="../tags/tag9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113.xml"/><Relationship Id="rId7" Type="http://schemas.openxmlformats.org/officeDocument/2006/relationships/image" Target="../media/image21.jpeg"/><Relationship Id="rId2" Type="http://schemas.openxmlformats.org/officeDocument/2006/relationships/tags" Target="../tags/tag112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png"/><Relationship Id="rId3" Type="http://schemas.openxmlformats.org/officeDocument/2006/relationships/tags" Target="../tags/tag103.xml"/><Relationship Id="rId7" Type="http://schemas.openxmlformats.org/officeDocument/2006/relationships/image" Target="../media/image6.jpeg"/><Relationship Id="rId12" Type="http://schemas.openxmlformats.org/officeDocument/2006/relationships/image" Target="../media/image11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52.bin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8.gi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105.xml"/><Relationship Id="rId7" Type="http://schemas.openxmlformats.org/officeDocument/2006/relationships/image" Target="../media/image13.jpeg"/><Relationship Id="rId2" Type="http://schemas.openxmlformats.org/officeDocument/2006/relationships/tags" Target="../tags/tag10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07.xml"/><Relationship Id="rId7" Type="http://schemas.openxmlformats.org/officeDocument/2006/relationships/image" Target="../media/image16.jpeg"/><Relationship Id="rId2" Type="http://schemas.openxmlformats.org/officeDocument/2006/relationships/tags" Target="../tags/tag106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10" Type="http://schemas.openxmlformats.org/officeDocument/2006/relationships/image" Target="../media/image19.jpe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111.xml"/><Relationship Id="rId7" Type="http://schemas.openxmlformats.org/officeDocument/2006/relationships/image" Target="../media/image21.jpeg"/><Relationship Id="rId2" Type="http://schemas.openxmlformats.org/officeDocument/2006/relationships/tags" Target="../tags/tag11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50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b="1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334963" y="1875791"/>
            <a:ext cx="7972275" cy="1315745"/>
          </a:xfrm>
        </p:spPr>
        <p:txBody>
          <a:bodyPr/>
          <a:lstStyle/>
          <a:p>
            <a:r>
              <a:rPr lang="en-US" dirty="0"/>
              <a:t>New model of participant‘s interaction – </a:t>
            </a:r>
            <a:br>
              <a:rPr lang="en-US" dirty="0"/>
            </a:br>
            <a:r>
              <a:rPr lang="en-US" dirty="0"/>
              <a:t>experience from Austria – </a:t>
            </a:r>
            <a:br>
              <a:rPr lang="en-US" dirty="0"/>
            </a:br>
            <a:r>
              <a:rPr lang="en-US" dirty="0"/>
              <a:t>„Dialogue forum construction“</a:t>
            </a:r>
          </a:p>
        </p:txBody>
      </p:sp>
      <p:pic>
        <p:nvPicPr>
          <p:cNvPr id="16" name="Picture 3"/>
          <p:cNvPicPr>
            <a:picLocks noGrp="1" noChangeAspect="1" noChangeArrowheads="1"/>
          </p:cNvPicPr>
          <p:nvPr>
            <p:ph type="pic" sz="quarter" idx="10"/>
          </p:nvPr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961" b="28961"/>
          <a:stretch/>
        </p:blipFill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334964" y="3686537"/>
            <a:ext cx="7972275" cy="615553"/>
          </a:xfrm>
        </p:spPr>
        <p:txBody>
          <a:bodyPr/>
          <a:lstStyle/>
          <a:p>
            <a:r>
              <a:rPr lang="en-US" dirty="0"/>
              <a:t>Forum „Standardization – 2019“, St. Petersburg</a:t>
            </a:r>
          </a:p>
          <a:p>
            <a:r>
              <a:rPr lang="en-US" dirty="0"/>
              <a:t>10th – 11th October 2019</a:t>
            </a:r>
          </a:p>
        </p:txBody>
      </p:sp>
    </p:spTree>
    <p:extLst>
      <p:ext uri="{BB962C8B-B14F-4D97-AF65-F5344CB8AC3E}">
        <p14:creationId xmlns:p14="http://schemas.microsoft.com/office/powerpoint/2010/main" val="4033562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000" b="1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pic>
        <p:nvPicPr>
          <p:cNvPr id="167945" name="Picture 9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1" t="10139" r="4281" b="12842"/>
          <a:stretch/>
        </p:blipFill>
        <p:spPr bwMode="auto">
          <a:xfrm>
            <a:off x="0" y="3430588"/>
            <a:ext cx="6095999" cy="3427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7946" name="Picture 1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58" b="7771"/>
          <a:stretch/>
        </p:blipFill>
        <p:spPr bwMode="auto">
          <a:xfrm>
            <a:off x="6096001" y="3429000"/>
            <a:ext cx="6095999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22CBF080-A8A1-40E2-9336-90D59CFD7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9850" y="2031829"/>
            <a:ext cx="5437188" cy="877163"/>
          </a:xfrm>
        </p:spPr>
        <p:txBody>
          <a:bodyPr/>
          <a:lstStyle/>
          <a:p>
            <a:r>
              <a:rPr lang="en-US" dirty="0"/>
              <a:t>Dialogue forum construction – examples of result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B37111C7-5FD7-4188-9D90-68050EC79A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86000" y="-8877"/>
            <a:ext cx="3810000" cy="6858000"/>
          </a:xfrm>
        </p:spPr>
        <p:txBody>
          <a:bodyPr lIns="252000"/>
          <a:lstStyle/>
          <a:p>
            <a:pPr lvl="1"/>
            <a:r>
              <a:rPr lang="en-GB" dirty="0"/>
              <a:t>Horizontal co-ordination groups for elimination of conflicting specifications established (e.g. fire safety)</a:t>
            </a:r>
          </a:p>
          <a:p>
            <a:pPr lvl="1"/>
            <a:r>
              <a:rPr lang="en-GB" dirty="0"/>
              <a:t>Deregulation in construction has been positioned in governmental programme 2017</a:t>
            </a:r>
          </a:p>
          <a:p>
            <a:pPr lvl="1"/>
            <a:r>
              <a:rPr lang="en-GB" dirty="0"/>
              <a:t>Yearly construction discussion forums</a:t>
            </a:r>
          </a:p>
          <a:p>
            <a:pPr lvl="1"/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F3FF049C-CE5C-416B-941E-D04198452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62F75-52E4-4E2C-B34F-A32CE8B1CC4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9556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461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000" b="1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Thank you for your attentio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7B5721C4-00E3-4109-9FD0-B7D6BE469B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AT" dirty="0"/>
              <a:t>Joanna Gajdek, Head </a:t>
            </a:r>
            <a:r>
              <a:rPr lang="de-AT" dirty="0" err="1"/>
              <a:t>of</a:t>
            </a:r>
            <a:r>
              <a:rPr lang="de-AT" dirty="0"/>
              <a:t> Consulting</a:t>
            </a:r>
          </a:p>
          <a:p>
            <a:endParaRPr lang="de-AT" dirty="0"/>
          </a:p>
          <a:p>
            <a:r>
              <a:rPr lang="de-AT" dirty="0"/>
              <a:t>Austrian Standards International</a:t>
            </a:r>
          </a:p>
          <a:p>
            <a:r>
              <a:rPr lang="it-IT" dirty="0" err="1"/>
              <a:t>Heinestraße</a:t>
            </a:r>
            <a:r>
              <a:rPr lang="it-IT" dirty="0"/>
              <a:t> 38</a:t>
            </a:r>
          </a:p>
          <a:p>
            <a:r>
              <a:rPr lang="it-IT" dirty="0"/>
              <a:t>1020 Vienna</a:t>
            </a:r>
            <a:br>
              <a:rPr lang="it-IT" dirty="0"/>
            </a:br>
            <a:r>
              <a:rPr lang="it-IT" dirty="0"/>
              <a:t>Austria</a:t>
            </a:r>
          </a:p>
          <a:p>
            <a:endParaRPr lang="it-IT" dirty="0"/>
          </a:p>
          <a:p>
            <a:r>
              <a:rPr lang="it-IT" dirty="0"/>
              <a:t>T: +43 1 213 00-616</a:t>
            </a:r>
          </a:p>
          <a:p>
            <a:r>
              <a:rPr lang="it-IT" dirty="0"/>
              <a:t>F: +43 1 213 00-650</a:t>
            </a:r>
          </a:p>
          <a:p>
            <a:r>
              <a:rPr lang="it-IT" dirty="0"/>
              <a:t>M: +43 6644545954</a:t>
            </a:r>
          </a:p>
          <a:p>
            <a:r>
              <a:rPr lang="it-IT" dirty="0"/>
              <a:t>E: j.gajdek@austrian-standards.at </a:t>
            </a:r>
          </a:p>
        </p:txBody>
      </p:sp>
    </p:spTree>
    <p:extLst>
      <p:ext uri="{BB962C8B-B14F-4D97-AF65-F5344CB8AC3E}">
        <p14:creationId xmlns:p14="http://schemas.microsoft.com/office/powerpoint/2010/main" val="3666173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6679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000" b="1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EBE1B-17D4-CF42-9C78-D320E5CF739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34962" y="842721"/>
            <a:ext cx="11522075" cy="438582"/>
          </a:xfrm>
        </p:spPr>
        <p:txBody>
          <a:bodyPr/>
          <a:lstStyle/>
          <a:p>
            <a:r>
              <a:rPr lang="en-US" dirty="0"/>
              <a:t>Facts &amp; Figure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334963" y="6407250"/>
            <a:ext cx="10080626" cy="153888"/>
          </a:xfrm>
        </p:spPr>
        <p:txBody>
          <a:bodyPr/>
          <a:lstStyle/>
          <a:p>
            <a:r>
              <a:rPr lang="en-US" dirty="0"/>
              <a:t>Status: December 2018</a:t>
            </a:r>
          </a:p>
        </p:txBody>
      </p:sp>
      <p:sp>
        <p:nvSpPr>
          <p:cNvPr id="6" name="Ellipse 5">
            <a:hlinkClick r:id="" action="ppaction://noaction"/>
          </p:cNvPr>
          <p:cNvSpPr/>
          <p:nvPr/>
        </p:nvSpPr>
        <p:spPr>
          <a:xfrm>
            <a:off x="10148712" y="110067"/>
            <a:ext cx="519289" cy="33866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Freihandform: Form 16">
            <a:extLst>
              <a:ext uri="{FF2B5EF4-FFF2-40B4-BE49-F238E27FC236}">
                <a16:creationId xmlns:a16="http://schemas.microsoft.com/office/drawing/2014/main" xmlns="" id="{CF51D317-996D-4738-AA5D-FCC2A06FBB46}"/>
              </a:ext>
            </a:extLst>
          </p:cNvPr>
          <p:cNvSpPr/>
          <p:nvPr/>
        </p:nvSpPr>
        <p:spPr>
          <a:xfrm flipH="1">
            <a:off x="5722569" y="5083732"/>
            <a:ext cx="894642" cy="564013"/>
          </a:xfrm>
          <a:custGeom>
            <a:avLst/>
            <a:gdLst>
              <a:gd name="connsiteX0" fmla="*/ 366698 w 428625"/>
              <a:gd name="connsiteY0" fmla="*/ 129268 h 270220"/>
              <a:gd name="connsiteX1" fmla="*/ 367760 w 428625"/>
              <a:gd name="connsiteY1" fmla="*/ 117788 h 270220"/>
              <a:gd name="connsiteX2" fmla="*/ 301528 w 428625"/>
              <a:gd name="connsiteY2" fmla="*/ 51556 h 270220"/>
              <a:gd name="connsiteX3" fmla="*/ 278830 w 428625"/>
              <a:gd name="connsiteY3" fmla="*/ 55628 h 270220"/>
              <a:gd name="connsiteX4" fmla="*/ 177041 w 428625"/>
              <a:gd name="connsiteY4" fmla="*/ 0 h 270220"/>
              <a:gd name="connsiteX5" fmla="*/ 55908 w 428625"/>
              <a:gd name="connsiteY5" fmla="*/ 121133 h 270220"/>
              <a:gd name="connsiteX6" fmla="*/ 56383 w 428625"/>
              <a:gd name="connsiteY6" fmla="*/ 130442 h 270220"/>
              <a:gd name="connsiteX7" fmla="*/ 0 w 428625"/>
              <a:gd name="connsiteY7" fmla="*/ 202665 h 270220"/>
              <a:gd name="connsiteX8" fmla="*/ 74543 w 428625"/>
              <a:gd name="connsiteY8" fmla="*/ 277209 h 270220"/>
              <a:gd name="connsiteX9" fmla="*/ 354082 w 428625"/>
              <a:gd name="connsiteY9" fmla="*/ 277209 h 270220"/>
              <a:gd name="connsiteX10" fmla="*/ 428625 w 428625"/>
              <a:gd name="connsiteY10" fmla="*/ 202665 h 270220"/>
              <a:gd name="connsiteX11" fmla="*/ 366698 w 428625"/>
              <a:gd name="connsiteY11" fmla="*/ 129268 h 27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8625" h="270220">
                <a:moveTo>
                  <a:pt x="366698" y="129268"/>
                </a:moveTo>
                <a:cubicBezTo>
                  <a:pt x="367350" y="125531"/>
                  <a:pt x="367760" y="121702"/>
                  <a:pt x="367760" y="117788"/>
                </a:cubicBezTo>
                <a:cubicBezTo>
                  <a:pt x="367760" y="81206"/>
                  <a:pt x="338101" y="51556"/>
                  <a:pt x="301528" y="51556"/>
                </a:cubicBezTo>
                <a:cubicBezTo>
                  <a:pt x="293562" y="51556"/>
                  <a:pt x="285930" y="53038"/>
                  <a:pt x="278830" y="55628"/>
                </a:cubicBezTo>
                <a:cubicBezTo>
                  <a:pt x="257268" y="22195"/>
                  <a:pt x="219782" y="0"/>
                  <a:pt x="177041" y="0"/>
                </a:cubicBezTo>
                <a:cubicBezTo>
                  <a:pt x="110138" y="0"/>
                  <a:pt x="55908" y="54230"/>
                  <a:pt x="55908" y="121133"/>
                </a:cubicBezTo>
                <a:cubicBezTo>
                  <a:pt x="55908" y="124273"/>
                  <a:pt x="56141" y="127358"/>
                  <a:pt x="56383" y="130442"/>
                </a:cubicBezTo>
                <a:cubicBezTo>
                  <a:pt x="24003" y="138567"/>
                  <a:pt x="0" y="167779"/>
                  <a:pt x="0" y="202665"/>
                </a:cubicBezTo>
                <a:cubicBezTo>
                  <a:pt x="0" y="243832"/>
                  <a:pt x="33377" y="277209"/>
                  <a:pt x="74543" y="277209"/>
                </a:cubicBezTo>
                <a:lnTo>
                  <a:pt x="354082" y="277209"/>
                </a:lnTo>
                <a:cubicBezTo>
                  <a:pt x="395248" y="277209"/>
                  <a:pt x="428625" y="243832"/>
                  <a:pt x="428625" y="202665"/>
                </a:cubicBezTo>
                <a:cubicBezTo>
                  <a:pt x="428625" y="165813"/>
                  <a:pt x="401845" y="135278"/>
                  <a:pt x="366698" y="129268"/>
                </a:cubicBezTo>
                <a:close/>
              </a:path>
            </a:pathLst>
          </a:custGeom>
          <a:solidFill>
            <a:schemeClr val="accent1"/>
          </a:solidFill>
          <a:ln w="93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5" name="Textplatzhalter 12"/>
          <p:cNvSpPr txBox="1">
            <a:spLocks/>
          </p:cNvSpPr>
          <p:nvPr/>
        </p:nvSpPr>
        <p:spPr>
          <a:xfrm>
            <a:off x="3482940" y="4146029"/>
            <a:ext cx="5443628" cy="85309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500" b="1" dirty="0">
                <a:solidFill>
                  <a:schemeClr val="accent1"/>
                </a:solidFill>
              </a:rPr>
              <a:t>Austrian Standards</a:t>
            </a:r>
            <a:endParaRPr lang="en-US" sz="5500" b="1" dirty="0"/>
          </a:p>
        </p:txBody>
      </p:sp>
      <p:sp>
        <p:nvSpPr>
          <p:cNvPr id="16" name="Textplatzhalter 12"/>
          <p:cNvSpPr txBox="1">
            <a:spLocks/>
          </p:cNvSpPr>
          <p:nvPr/>
        </p:nvSpPr>
        <p:spPr>
          <a:xfrm>
            <a:off x="5843419" y="5365935"/>
            <a:ext cx="670194" cy="21715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manages</a:t>
            </a:r>
          </a:p>
        </p:txBody>
      </p:sp>
      <p:sp>
        <p:nvSpPr>
          <p:cNvPr id="17" name="Textplatzhalter 12"/>
          <p:cNvSpPr txBox="1">
            <a:spLocks/>
          </p:cNvSpPr>
          <p:nvPr/>
        </p:nvSpPr>
        <p:spPr>
          <a:xfrm>
            <a:off x="4648864" y="5443586"/>
            <a:ext cx="890252" cy="86550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</a:pPr>
            <a:r>
              <a:rPr lang="en-US" sz="3400" b="1" dirty="0"/>
              <a:t>29</a:t>
            </a:r>
            <a:r>
              <a:rPr lang="en-US" dirty="0"/>
              <a:t/>
            </a:r>
            <a:br>
              <a:rPr lang="en-US" dirty="0"/>
            </a:br>
            <a:r>
              <a:rPr lang="en-US" sz="1400" b="1" dirty="0"/>
              <a:t>Committees</a:t>
            </a:r>
            <a:br>
              <a:rPr lang="en-US" sz="1400" b="1" dirty="0"/>
            </a:br>
            <a:r>
              <a:rPr lang="en-US" sz="1400" b="1" dirty="0"/>
              <a:t>for CEN</a:t>
            </a:r>
          </a:p>
        </p:txBody>
      </p:sp>
      <p:sp>
        <p:nvSpPr>
          <p:cNvPr id="18" name="Textplatzhalter 12"/>
          <p:cNvSpPr txBox="1">
            <a:spLocks/>
          </p:cNvSpPr>
          <p:nvPr/>
        </p:nvSpPr>
        <p:spPr>
          <a:xfrm>
            <a:off x="6800665" y="5455431"/>
            <a:ext cx="890253" cy="86550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3400" b="1" dirty="0"/>
              <a:t>21</a:t>
            </a:r>
            <a:r>
              <a:rPr lang="en-US" dirty="0"/>
              <a:t/>
            </a:r>
            <a:br>
              <a:rPr lang="en-US" dirty="0"/>
            </a:br>
            <a:r>
              <a:rPr lang="en-US" sz="1400" b="1" dirty="0"/>
              <a:t>Committees</a:t>
            </a:r>
            <a:br>
              <a:rPr lang="en-US" sz="1400" b="1" dirty="0"/>
            </a:br>
            <a:r>
              <a:rPr lang="en-US" sz="1400" b="1" dirty="0"/>
              <a:t>for ISO</a:t>
            </a:r>
          </a:p>
        </p:txBody>
      </p:sp>
      <p:sp>
        <p:nvSpPr>
          <p:cNvPr id="22" name="Textplatzhalter 12"/>
          <p:cNvSpPr txBox="1">
            <a:spLocks/>
          </p:cNvSpPr>
          <p:nvPr/>
        </p:nvSpPr>
        <p:spPr>
          <a:xfrm>
            <a:off x="549843" y="4428856"/>
            <a:ext cx="2346972" cy="47462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</a:pPr>
            <a:r>
              <a:rPr lang="en-US" sz="3400" b="1" dirty="0"/>
              <a:t>7%</a:t>
            </a:r>
            <a:r>
              <a:rPr lang="en-US" dirty="0"/>
              <a:t> </a:t>
            </a:r>
            <a:r>
              <a:rPr lang="en-US" sz="1400" b="1" dirty="0"/>
              <a:t>Purely national ÖNORM</a:t>
            </a:r>
          </a:p>
        </p:txBody>
      </p:sp>
      <p:sp>
        <p:nvSpPr>
          <p:cNvPr id="23" name="Textplatzhalter 12"/>
          <p:cNvSpPr txBox="1">
            <a:spLocks/>
          </p:cNvSpPr>
          <p:nvPr/>
        </p:nvSpPr>
        <p:spPr>
          <a:xfrm>
            <a:off x="1181374" y="4900766"/>
            <a:ext cx="1664498" cy="47462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3400" b="1" dirty="0"/>
              <a:t>284</a:t>
            </a:r>
            <a:r>
              <a:rPr lang="en-US" dirty="0"/>
              <a:t> </a:t>
            </a:r>
            <a:r>
              <a:rPr lang="en-US" sz="1400" b="1" dirty="0"/>
              <a:t>First editions</a:t>
            </a:r>
          </a:p>
        </p:txBody>
      </p:sp>
      <p:sp>
        <p:nvSpPr>
          <p:cNvPr id="24" name="Textplatzhalter 12"/>
          <p:cNvSpPr txBox="1">
            <a:spLocks/>
          </p:cNvSpPr>
          <p:nvPr/>
        </p:nvSpPr>
        <p:spPr>
          <a:xfrm>
            <a:off x="332733" y="3228072"/>
            <a:ext cx="1940137" cy="47462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3400" b="1" dirty="0"/>
              <a:t>911 </a:t>
            </a:r>
            <a:r>
              <a:rPr lang="en-US" sz="1400" b="1" dirty="0"/>
              <a:t>Revised editions</a:t>
            </a:r>
          </a:p>
        </p:txBody>
      </p:sp>
      <p:sp>
        <p:nvSpPr>
          <p:cNvPr id="26" name="Textplatzhalter 12"/>
          <p:cNvSpPr txBox="1">
            <a:spLocks/>
          </p:cNvSpPr>
          <p:nvPr/>
        </p:nvSpPr>
        <p:spPr>
          <a:xfrm>
            <a:off x="4079360" y="1993857"/>
            <a:ext cx="1080906" cy="67006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80000"/>
              </a:lnSpc>
            </a:pPr>
            <a:r>
              <a:rPr lang="en-US" sz="4000" b="1" dirty="0">
                <a:solidFill>
                  <a:schemeClr val="accent1"/>
                </a:solidFill>
              </a:rPr>
              <a:t>4 343</a:t>
            </a:r>
          </a:p>
          <a:p>
            <a:pPr algn="r">
              <a:lnSpc>
                <a:spcPct val="80000"/>
              </a:lnSpc>
            </a:pPr>
            <a:r>
              <a:rPr lang="en-US" sz="1400" b="1" dirty="0">
                <a:solidFill>
                  <a:schemeClr val="accent1"/>
                </a:solidFill>
              </a:rPr>
              <a:t>Participants</a:t>
            </a:r>
            <a:endParaRPr lang="en-US" sz="1400" b="1" dirty="0"/>
          </a:p>
        </p:txBody>
      </p:sp>
      <p:sp>
        <p:nvSpPr>
          <p:cNvPr id="27" name="Textplatzhalter 12"/>
          <p:cNvSpPr txBox="1">
            <a:spLocks/>
          </p:cNvSpPr>
          <p:nvPr/>
        </p:nvSpPr>
        <p:spPr>
          <a:xfrm>
            <a:off x="4315972" y="2713199"/>
            <a:ext cx="890253" cy="67006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3400" b="1" dirty="0"/>
              <a:t>144</a:t>
            </a:r>
            <a:r>
              <a:rPr lang="en-US" dirty="0"/>
              <a:t/>
            </a:r>
            <a:br>
              <a:rPr lang="en-US" dirty="0"/>
            </a:br>
            <a:r>
              <a:rPr lang="en-US" sz="1400" b="1" dirty="0"/>
              <a:t>Committees</a:t>
            </a:r>
          </a:p>
        </p:txBody>
      </p:sp>
      <p:sp>
        <p:nvSpPr>
          <p:cNvPr id="28" name="Textplatzhalter 12"/>
          <p:cNvSpPr txBox="1">
            <a:spLocks/>
          </p:cNvSpPr>
          <p:nvPr/>
        </p:nvSpPr>
        <p:spPr>
          <a:xfrm>
            <a:off x="6358698" y="2401886"/>
            <a:ext cx="612675" cy="47462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3400" b="1" dirty="0"/>
              <a:t>437</a:t>
            </a:r>
            <a:endParaRPr lang="en-US" sz="1400" b="1" dirty="0"/>
          </a:p>
        </p:txBody>
      </p:sp>
      <p:sp>
        <p:nvSpPr>
          <p:cNvPr id="29" name="Textplatzhalter 12"/>
          <p:cNvSpPr txBox="1">
            <a:spLocks/>
          </p:cNvSpPr>
          <p:nvPr/>
        </p:nvSpPr>
        <p:spPr>
          <a:xfrm>
            <a:off x="7056553" y="2411011"/>
            <a:ext cx="889930" cy="39087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400" b="1" dirty="0"/>
              <a:t>new</a:t>
            </a:r>
            <a:br>
              <a:rPr lang="en-US" sz="1400" b="1" dirty="0"/>
            </a:br>
            <a:r>
              <a:rPr lang="en-US" sz="1400" b="1" dirty="0"/>
              <a:t>participants</a:t>
            </a:r>
          </a:p>
        </p:txBody>
      </p:sp>
      <p:sp>
        <p:nvSpPr>
          <p:cNvPr id="30" name="Textplatzhalter 12"/>
          <p:cNvSpPr txBox="1">
            <a:spLocks/>
          </p:cNvSpPr>
          <p:nvPr/>
        </p:nvSpPr>
        <p:spPr>
          <a:xfrm>
            <a:off x="7124528" y="3333538"/>
            <a:ext cx="2591911" cy="84378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80000"/>
              </a:lnSpc>
            </a:pPr>
            <a:r>
              <a:rPr lang="en-US" sz="1400" b="1" dirty="0">
                <a:solidFill>
                  <a:schemeClr val="accent1"/>
                </a:solidFill>
              </a:rPr>
              <a:t>Austrian</a:t>
            </a:r>
            <a:r>
              <a:rPr lang="en-US" sz="5500" b="1" dirty="0">
                <a:solidFill>
                  <a:schemeClr val="accent1"/>
                </a:solidFill>
              </a:rPr>
              <a:t/>
            </a:r>
            <a:br>
              <a:rPr lang="en-US" sz="5500" b="1" dirty="0">
                <a:solidFill>
                  <a:schemeClr val="accent1"/>
                </a:solidFill>
              </a:rPr>
            </a:br>
            <a:r>
              <a:rPr lang="en-US" sz="4000" b="1" dirty="0">
                <a:solidFill>
                  <a:schemeClr val="accent1"/>
                </a:solidFill>
              </a:rPr>
              <a:t>participation</a:t>
            </a:r>
          </a:p>
          <a:p>
            <a:pPr algn="r">
              <a:lnSpc>
                <a:spcPct val="80000"/>
              </a:lnSpc>
            </a:pPr>
            <a:r>
              <a:rPr lang="en-US" sz="1400" b="1" dirty="0">
                <a:solidFill>
                  <a:schemeClr val="accent1"/>
                </a:solidFill>
              </a:rPr>
              <a:t>in</a:t>
            </a:r>
          </a:p>
        </p:txBody>
      </p:sp>
      <p:sp>
        <p:nvSpPr>
          <p:cNvPr id="31" name="Textplatzhalter 12"/>
          <p:cNvSpPr txBox="1">
            <a:spLocks/>
          </p:cNvSpPr>
          <p:nvPr/>
        </p:nvSpPr>
        <p:spPr>
          <a:xfrm>
            <a:off x="9768388" y="2575651"/>
            <a:ext cx="2155026" cy="67006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3400" b="1" dirty="0"/>
              <a:t>100%</a:t>
            </a:r>
            <a:r>
              <a:rPr lang="en-US" dirty="0"/>
              <a:t/>
            </a:r>
            <a:br>
              <a:rPr lang="en-US" dirty="0"/>
            </a:br>
            <a:r>
              <a:rPr lang="en-US" sz="1400" b="1" dirty="0"/>
              <a:t>of CEN technical committees</a:t>
            </a:r>
          </a:p>
        </p:txBody>
      </p:sp>
      <p:sp>
        <p:nvSpPr>
          <p:cNvPr id="32" name="Textplatzhalter 12"/>
          <p:cNvSpPr txBox="1">
            <a:spLocks/>
          </p:cNvSpPr>
          <p:nvPr/>
        </p:nvSpPr>
        <p:spPr>
          <a:xfrm>
            <a:off x="9768388" y="4258031"/>
            <a:ext cx="2098476" cy="67006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3400" b="1" dirty="0"/>
              <a:t>91%</a:t>
            </a:r>
            <a:r>
              <a:rPr lang="en-US" dirty="0"/>
              <a:t/>
            </a:r>
            <a:br>
              <a:rPr lang="en-US" dirty="0"/>
            </a:br>
            <a:r>
              <a:rPr lang="en-US" sz="1400" b="1" dirty="0"/>
              <a:t>of ISO technical committees</a:t>
            </a:r>
          </a:p>
        </p:txBody>
      </p:sp>
      <p:sp>
        <p:nvSpPr>
          <p:cNvPr id="33" name="Textplatzhalter 12"/>
          <p:cNvSpPr txBox="1">
            <a:spLocks/>
          </p:cNvSpPr>
          <p:nvPr/>
        </p:nvSpPr>
        <p:spPr>
          <a:xfrm>
            <a:off x="5312111" y="2713199"/>
            <a:ext cx="1190774" cy="67006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3400" b="1" dirty="0"/>
              <a:t>271</a:t>
            </a:r>
            <a:r>
              <a:rPr lang="en-US" dirty="0"/>
              <a:t/>
            </a:r>
            <a:br>
              <a:rPr lang="en-US" dirty="0"/>
            </a:br>
            <a:r>
              <a:rPr lang="en-US" sz="1400" b="1" dirty="0"/>
              <a:t>Working groups</a:t>
            </a:r>
          </a:p>
        </p:txBody>
      </p:sp>
      <p:grpSp>
        <p:nvGrpSpPr>
          <p:cNvPr id="64" name="Gruppieren 63"/>
          <p:cNvGrpSpPr/>
          <p:nvPr/>
        </p:nvGrpSpPr>
        <p:grpSpPr>
          <a:xfrm>
            <a:off x="9813332" y="3317506"/>
            <a:ext cx="850443" cy="843150"/>
            <a:chOff x="9835538" y="3497214"/>
            <a:chExt cx="843758" cy="836522"/>
          </a:xfrm>
          <a:solidFill>
            <a:schemeClr val="accent1"/>
          </a:solidFill>
        </p:grpSpPr>
        <p:grpSp>
          <p:nvGrpSpPr>
            <p:cNvPr id="63" name="Gruppieren 62"/>
            <p:cNvGrpSpPr/>
            <p:nvPr/>
          </p:nvGrpSpPr>
          <p:grpSpPr>
            <a:xfrm>
              <a:off x="10128053" y="3497214"/>
              <a:ext cx="258727" cy="386004"/>
              <a:chOff x="10175432" y="3394781"/>
              <a:chExt cx="258727" cy="386004"/>
            </a:xfrm>
            <a:grpFill/>
          </p:grpSpPr>
          <p:sp>
            <p:nvSpPr>
              <p:cNvPr id="43" name="Freihandform: Form 36">
                <a:extLst>
                  <a:ext uri="{FF2B5EF4-FFF2-40B4-BE49-F238E27FC236}">
                    <a16:creationId xmlns:a16="http://schemas.microsoft.com/office/drawing/2014/main" xmlns="" id="{9C5AD0BF-E9E8-480F-950E-88E6A67759D0}"/>
                  </a:ext>
                </a:extLst>
              </p:cNvPr>
              <p:cNvSpPr/>
              <p:nvPr/>
            </p:nvSpPr>
            <p:spPr>
              <a:xfrm>
                <a:off x="10175432" y="3604631"/>
                <a:ext cx="258727" cy="176154"/>
              </a:xfrm>
              <a:custGeom>
                <a:avLst/>
                <a:gdLst>
                  <a:gd name="connsiteX0" fmla="*/ 6851 w 118039"/>
                  <a:gd name="connsiteY0" fmla="*/ 67947 h 80367"/>
                  <a:gd name="connsiteX1" fmla="*/ 59340 w 118039"/>
                  <a:gd name="connsiteY1" fmla="*/ 80612 h 80367"/>
                  <a:gd name="connsiteX2" fmla="*/ 111827 w 118039"/>
                  <a:gd name="connsiteY2" fmla="*/ 67947 h 80367"/>
                  <a:gd name="connsiteX3" fmla="*/ 118641 w 118039"/>
                  <a:gd name="connsiteY3" fmla="*/ 56800 h 80367"/>
                  <a:gd name="connsiteX4" fmla="*/ 118681 w 118039"/>
                  <a:gd name="connsiteY4" fmla="*/ 29393 h 80367"/>
                  <a:gd name="connsiteX5" fmla="*/ 110096 w 118039"/>
                  <a:gd name="connsiteY5" fmla="*/ 8781 h 80367"/>
                  <a:gd name="connsiteX6" fmla="*/ 89069 w 118039"/>
                  <a:gd name="connsiteY6" fmla="*/ 27 h 80367"/>
                  <a:gd name="connsiteX7" fmla="*/ 29350 w 118039"/>
                  <a:gd name="connsiteY7" fmla="*/ 0 h 80367"/>
                  <a:gd name="connsiteX8" fmla="*/ 8584 w 118039"/>
                  <a:gd name="connsiteY8" fmla="*/ 8624 h 80367"/>
                  <a:gd name="connsiteX9" fmla="*/ 0 w 118039"/>
                  <a:gd name="connsiteY9" fmla="*/ 29369 h 80367"/>
                  <a:gd name="connsiteX10" fmla="*/ 36 w 118039"/>
                  <a:gd name="connsiteY10" fmla="*/ 56800 h 80367"/>
                  <a:gd name="connsiteX11" fmla="*/ 6851 w 118039"/>
                  <a:gd name="connsiteY11" fmla="*/ 67947 h 8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8039" h="80367">
                    <a:moveTo>
                      <a:pt x="6851" y="67947"/>
                    </a:moveTo>
                    <a:cubicBezTo>
                      <a:pt x="22967" y="76234"/>
                      <a:pt x="41116" y="80612"/>
                      <a:pt x="59340" y="80612"/>
                    </a:cubicBezTo>
                    <a:cubicBezTo>
                      <a:pt x="77565" y="80612"/>
                      <a:pt x="95714" y="76234"/>
                      <a:pt x="111827" y="67947"/>
                    </a:cubicBezTo>
                    <a:cubicBezTo>
                      <a:pt x="116006" y="65799"/>
                      <a:pt x="118635" y="61495"/>
                      <a:pt x="118641" y="56800"/>
                    </a:cubicBezTo>
                    <a:lnTo>
                      <a:pt x="118681" y="29393"/>
                    </a:lnTo>
                    <a:cubicBezTo>
                      <a:pt x="118691" y="21655"/>
                      <a:pt x="115643" y="14333"/>
                      <a:pt x="110096" y="8781"/>
                    </a:cubicBezTo>
                    <a:cubicBezTo>
                      <a:pt x="104540" y="3215"/>
                      <a:pt x="96875" y="27"/>
                      <a:pt x="89069" y="27"/>
                    </a:cubicBezTo>
                    <a:cubicBezTo>
                      <a:pt x="69161" y="27"/>
                      <a:pt x="49255" y="0"/>
                      <a:pt x="29350" y="0"/>
                    </a:cubicBezTo>
                    <a:cubicBezTo>
                      <a:pt x="21512" y="0"/>
                      <a:pt x="14137" y="3064"/>
                      <a:pt x="8584" y="8624"/>
                    </a:cubicBezTo>
                    <a:cubicBezTo>
                      <a:pt x="3038" y="14176"/>
                      <a:pt x="-13" y="21544"/>
                      <a:pt x="0" y="29369"/>
                    </a:cubicBezTo>
                    <a:lnTo>
                      <a:pt x="36" y="56800"/>
                    </a:lnTo>
                    <a:cubicBezTo>
                      <a:pt x="43" y="61495"/>
                      <a:pt x="2676" y="65799"/>
                      <a:pt x="6851" y="67947"/>
                    </a:cubicBezTo>
                    <a:close/>
                  </a:path>
                </a:pathLst>
              </a:custGeom>
              <a:grpFill/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4" name="Freihandform: Form 37">
                <a:extLst>
                  <a:ext uri="{FF2B5EF4-FFF2-40B4-BE49-F238E27FC236}">
                    <a16:creationId xmlns:a16="http://schemas.microsoft.com/office/drawing/2014/main" xmlns="" id="{24FF16A8-C387-4950-8792-287DCC26880A}"/>
                  </a:ext>
                </a:extLst>
              </p:cNvPr>
              <p:cNvSpPr/>
              <p:nvPr/>
            </p:nvSpPr>
            <p:spPr>
              <a:xfrm>
                <a:off x="10210469" y="3394781"/>
                <a:ext cx="188999" cy="188999"/>
              </a:xfrm>
              <a:custGeom>
                <a:avLst/>
                <a:gdLst>
                  <a:gd name="connsiteX0" fmla="*/ 43343 w 86227"/>
                  <a:gd name="connsiteY0" fmla="*/ 86685 h 86227"/>
                  <a:gd name="connsiteX1" fmla="*/ 86685 w 86227"/>
                  <a:gd name="connsiteY1" fmla="*/ 43343 h 86227"/>
                  <a:gd name="connsiteX2" fmla="*/ 43343 w 86227"/>
                  <a:gd name="connsiteY2" fmla="*/ 0 h 86227"/>
                  <a:gd name="connsiteX3" fmla="*/ 0 w 86227"/>
                  <a:gd name="connsiteY3" fmla="*/ 43343 h 86227"/>
                  <a:gd name="connsiteX4" fmla="*/ 43343 w 86227"/>
                  <a:gd name="connsiteY4" fmla="*/ 86685 h 86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227" h="86227">
                    <a:moveTo>
                      <a:pt x="43343" y="86685"/>
                    </a:moveTo>
                    <a:cubicBezTo>
                      <a:pt x="67241" y="86685"/>
                      <a:pt x="86685" y="67241"/>
                      <a:pt x="86685" y="43343"/>
                    </a:cubicBezTo>
                    <a:cubicBezTo>
                      <a:pt x="86685" y="19444"/>
                      <a:pt x="67241" y="0"/>
                      <a:pt x="43343" y="0"/>
                    </a:cubicBezTo>
                    <a:cubicBezTo>
                      <a:pt x="19445" y="0"/>
                      <a:pt x="0" y="19444"/>
                      <a:pt x="0" y="43343"/>
                    </a:cubicBezTo>
                    <a:cubicBezTo>
                      <a:pt x="0" y="67241"/>
                      <a:pt x="19445" y="86685"/>
                      <a:pt x="43343" y="86685"/>
                    </a:cubicBezTo>
                    <a:close/>
                  </a:path>
                </a:pathLst>
              </a:custGeom>
              <a:grpFill/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61" name="Gruppieren 60"/>
            <p:cNvGrpSpPr/>
            <p:nvPr/>
          </p:nvGrpSpPr>
          <p:grpSpPr>
            <a:xfrm>
              <a:off x="9835538" y="3947732"/>
              <a:ext cx="258727" cy="386004"/>
              <a:chOff x="9835538" y="3947732"/>
              <a:chExt cx="258727" cy="386004"/>
            </a:xfrm>
            <a:grpFill/>
          </p:grpSpPr>
          <p:sp>
            <p:nvSpPr>
              <p:cNvPr id="45" name="Freihandform: Form 38">
                <a:extLst>
                  <a:ext uri="{FF2B5EF4-FFF2-40B4-BE49-F238E27FC236}">
                    <a16:creationId xmlns:a16="http://schemas.microsoft.com/office/drawing/2014/main" xmlns="" id="{63AD1D8C-6140-4654-903A-125AB2F2788E}"/>
                  </a:ext>
                </a:extLst>
              </p:cNvPr>
              <p:cNvSpPr/>
              <p:nvPr/>
            </p:nvSpPr>
            <p:spPr>
              <a:xfrm>
                <a:off x="9835538" y="4157582"/>
                <a:ext cx="258727" cy="176154"/>
              </a:xfrm>
              <a:custGeom>
                <a:avLst/>
                <a:gdLst>
                  <a:gd name="connsiteX0" fmla="*/ 89069 w 118039"/>
                  <a:gd name="connsiteY0" fmla="*/ 23 h 80367"/>
                  <a:gd name="connsiteX1" fmla="*/ 29350 w 118039"/>
                  <a:gd name="connsiteY1" fmla="*/ 0 h 80367"/>
                  <a:gd name="connsiteX2" fmla="*/ 8584 w 118039"/>
                  <a:gd name="connsiteY2" fmla="*/ 8624 h 80367"/>
                  <a:gd name="connsiteX3" fmla="*/ 0 w 118039"/>
                  <a:gd name="connsiteY3" fmla="*/ 29366 h 80367"/>
                  <a:gd name="connsiteX4" fmla="*/ 39 w 118039"/>
                  <a:gd name="connsiteY4" fmla="*/ 56796 h 80367"/>
                  <a:gd name="connsiteX5" fmla="*/ 6854 w 118039"/>
                  <a:gd name="connsiteY5" fmla="*/ 67944 h 80367"/>
                  <a:gd name="connsiteX6" fmla="*/ 59340 w 118039"/>
                  <a:gd name="connsiteY6" fmla="*/ 80612 h 80367"/>
                  <a:gd name="connsiteX7" fmla="*/ 111829 w 118039"/>
                  <a:gd name="connsiteY7" fmla="*/ 67944 h 80367"/>
                  <a:gd name="connsiteX8" fmla="*/ 118645 w 118039"/>
                  <a:gd name="connsiteY8" fmla="*/ 56796 h 80367"/>
                  <a:gd name="connsiteX9" fmla="*/ 118681 w 118039"/>
                  <a:gd name="connsiteY9" fmla="*/ 29392 h 80367"/>
                  <a:gd name="connsiteX10" fmla="*/ 110100 w 118039"/>
                  <a:gd name="connsiteY10" fmla="*/ 8777 h 80367"/>
                  <a:gd name="connsiteX11" fmla="*/ 89069 w 118039"/>
                  <a:gd name="connsiteY11" fmla="*/ 23 h 8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8039" h="80367">
                    <a:moveTo>
                      <a:pt x="89069" y="23"/>
                    </a:moveTo>
                    <a:cubicBezTo>
                      <a:pt x="69160" y="23"/>
                      <a:pt x="49255" y="0"/>
                      <a:pt x="29350" y="0"/>
                    </a:cubicBezTo>
                    <a:cubicBezTo>
                      <a:pt x="21511" y="0"/>
                      <a:pt x="14137" y="3061"/>
                      <a:pt x="8584" y="8624"/>
                    </a:cubicBezTo>
                    <a:cubicBezTo>
                      <a:pt x="3038" y="14176"/>
                      <a:pt x="-13" y="21543"/>
                      <a:pt x="0" y="29366"/>
                    </a:cubicBezTo>
                    <a:lnTo>
                      <a:pt x="39" y="56796"/>
                    </a:lnTo>
                    <a:cubicBezTo>
                      <a:pt x="46" y="61495"/>
                      <a:pt x="2675" y="65796"/>
                      <a:pt x="6854" y="67944"/>
                    </a:cubicBezTo>
                    <a:cubicBezTo>
                      <a:pt x="22966" y="76234"/>
                      <a:pt x="41116" y="80612"/>
                      <a:pt x="59340" y="80612"/>
                    </a:cubicBezTo>
                    <a:cubicBezTo>
                      <a:pt x="77565" y="80612"/>
                      <a:pt x="95717" y="76234"/>
                      <a:pt x="111829" y="67944"/>
                    </a:cubicBezTo>
                    <a:cubicBezTo>
                      <a:pt x="116005" y="65796"/>
                      <a:pt x="118638" y="61495"/>
                      <a:pt x="118645" y="56796"/>
                    </a:cubicBezTo>
                    <a:lnTo>
                      <a:pt x="118681" y="29392"/>
                    </a:lnTo>
                    <a:cubicBezTo>
                      <a:pt x="118690" y="21651"/>
                      <a:pt x="115643" y="14330"/>
                      <a:pt x="110100" y="8777"/>
                    </a:cubicBezTo>
                    <a:cubicBezTo>
                      <a:pt x="104544" y="3215"/>
                      <a:pt x="96879" y="23"/>
                      <a:pt x="89069" y="23"/>
                    </a:cubicBezTo>
                    <a:close/>
                  </a:path>
                </a:pathLst>
              </a:custGeom>
              <a:grpFill/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6" name="Freihandform: Form 39">
                <a:extLst>
                  <a:ext uri="{FF2B5EF4-FFF2-40B4-BE49-F238E27FC236}">
                    <a16:creationId xmlns:a16="http://schemas.microsoft.com/office/drawing/2014/main" xmlns="" id="{554932FB-A9C3-455A-B503-3EB3F3A44C9E}"/>
                  </a:ext>
                </a:extLst>
              </p:cNvPr>
              <p:cNvSpPr/>
              <p:nvPr/>
            </p:nvSpPr>
            <p:spPr>
              <a:xfrm>
                <a:off x="9870582" y="3947732"/>
                <a:ext cx="188999" cy="188999"/>
              </a:xfrm>
              <a:custGeom>
                <a:avLst/>
                <a:gdLst>
                  <a:gd name="connsiteX0" fmla="*/ 43339 w 86227"/>
                  <a:gd name="connsiteY0" fmla="*/ 86682 h 86227"/>
                  <a:gd name="connsiteX1" fmla="*/ 86682 w 86227"/>
                  <a:gd name="connsiteY1" fmla="*/ 43339 h 86227"/>
                  <a:gd name="connsiteX2" fmla="*/ 43339 w 86227"/>
                  <a:gd name="connsiteY2" fmla="*/ 0 h 86227"/>
                  <a:gd name="connsiteX3" fmla="*/ 0 w 86227"/>
                  <a:gd name="connsiteY3" fmla="*/ 43339 h 86227"/>
                  <a:gd name="connsiteX4" fmla="*/ 43339 w 86227"/>
                  <a:gd name="connsiteY4" fmla="*/ 86682 h 86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227" h="86227">
                    <a:moveTo>
                      <a:pt x="43339" y="86682"/>
                    </a:moveTo>
                    <a:cubicBezTo>
                      <a:pt x="67241" y="86682"/>
                      <a:pt x="86682" y="67241"/>
                      <a:pt x="86682" y="43339"/>
                    </a:cubicBezTo>
                    <a:cubicBezTo>
                      <a:pt x="86682" y="19441"/>
                      <a:pt x="67238" y="0"/>
                      <a:pt x="43339" y="0"/>
                    </a:cubicBezTo>
                    <a:cubicBezTo>
                      <a:pt x="19441" y="0"/>
                      <a:pt x="0" y="19441"/>
                      <a:pt x="0" y="43339"/>
                    </a:cubicBezTo>
                    <a:cubicBezTo>
                      <a:pt x="0" y="67241"/>
                      <a:pt x="19441" y="86682"/>
                      <a:pt x="43339" y="86682"/>
                    </a:cubicBezTo>
                    <a:close/>
                  </a:path>
                </a:pathLst>
              </a:custGeom>
              <a:grpFill/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62" name="Gruppieren 61"/>
            <p:cNvGrpSpPr/>
            <p:nvPr/>
          </p:nvGrpSpPr>
          <p:grpSpPr>
            <a:xfrm>
              <a:off x="10420569" y="3947732"/>
              <a:ext cx="258727" cy="386004"/>
              <a:chOff x="10420569" y="3947732"/>
              <a:chExt cx="258727" cy="386004"/>
            </a:xfrm>
            <a:grpFill/>
          </p:grpSpPr>
          <p:sp>
            <p:nvSpPr>
              <p:cNvPr id="47" name="Freihandform: Form 40">
                <a:extLst>
                  <a:ext uri="{FF2B5EF4-FFF2-40B4-BE49-F238E27FC236}">
                    <a16:creationId xmlns:a16="http://schemas.microsoft.com/office/drawing/2014/main" xmlns="" id="{F201F6F3-30F0-416C-BDFE-1BDCDC9ED32A}"/>
                  </a:ext>
                </a:extLst>
              </p:cNvPr>
              <p:cNvSpPr/>
              <p:nvPr/>
            </p:nvSpPr>
            <p:spPr>
              <a:xfrm>
                <a:off x="10420569" y="4157582"/>
                <a:ext cx="258727" cy="176154"/>
              </a:xfrm>
              <a:custGeom>
                <a:avLst/>
                <a:gdLst>
                  <a:gd name="connsiteX0" fmla="*/ 110096 w 118039"/>
                  <a:gd name="connsiteY0" fmla="*/ 8777 h 80367"/>
                  <a:gd name="connsiteX1" fmla="*/ 89069 w 118039"/>
                  <a:gd name="connsiteY1" fmla="*/ 23 h 80367"/>
                  <a:gd name="connsiteX2" fmla="*/ 29350 w 118039"/>
                  <a:gd name="connsiteY2" fmla="*/ 0 h 80367"/>
                  <a:gd name="connsiteX3" fmla="*/ 8584 w 118039"/>
                  <a:gd name="connsiteY3" fmla="*/ 8624 h 80367"/>
                  <a:gd name="connsiteX4" fmla="*/ 0 w 118039"/>
                  <a:gd name="connsiteY4" fmla="*/ 29366 h 80367"/>
                  <a:gd name="connsiteX5" fmla="*/ 36 w 118039"/>
                  <a:gd name="connsiteY5" fmla="*/ 56796 h 80367"/>
                  <a:gd name="connsiteX6" fmla="*/ 6851 w 118039"/>
                  <a:gd name="connsiteY6" fmla="*/ 67944 h 80367"/>
                  <a:gd name="connsiteX7" fmla="*/ 59340 w 118039"/>
                  <a:gd name="connsiteY7" fmla="*/ 80612 h 80367"/>
                  <a:gd name="connsiteX8" fmla="*/ 111827 w 118039"/>
                  <a:gd name="connsiteY8" fmla="*/ 67944 h 80367"/>
                  <a:gd name="connsiteX9" fmla="*/ 118641 w 118039"/>
                  <a:gd name="connsiteY9" fmla="*/ 56796 h 80367"/>
                  <a:gd name="connsiteX10" fmla="*/ 118681 w 118039"/>
                  <a:gd name="connsiteY10" fmla="*/ 29389 h 80367"/>
                  <a:gd name="connsiteX11" fmla="*/ 110096 w 118039"/>
                  <a:gd name="connsiteY11" fmla="*/ 8777 h 80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8039" h="80367">
                    <a:moveTo>
                      <a:pt x="110096" y="8777"/>
                    </a:moveTo>
                    <a:cubicBezTo>
                      <a:pt x="104540" y="3215"/>
                      <a:pt x="96875" y="23"/>
                      <a:pt x="89069" y="23"/>
                    </a:cubicBezTo>
                    <a:cubicBezTo>
                      <a:pt x="69161" y="23"/>
                      <a:pt x="49255" y="0"/>
                      <a:pt x="29350" y="0"/>
                    </a:cubicBezTo>
                    <a:cubicBezTo>
                      <a:pt x="21512" y="0"/>
                      <a:pt x="14137" y="3061"/>
                      <a:pt x="8584" y="8624"/>
                    </a:cubicBezTo>
                    <a:cubicBezTo>
                      <a:pt x="3038" y="14176"/>
                      <a:pt x="-13" y="21541"/>
                      <a:pt x="0" y="29366"/>
                    </a:cubicBezTo>
                    <a:lnTo>
                      <a:pt x="36" y="56796"/>
                    </a:lnTo>
                    <a:cubicBezTo>
                      <a:pt x="43" y="61495"/>
                      <a:pt x="2672" y="65796"/>
                      <a:pt x="6851" y="67944"/>
                    </a:cubicBezTo>
                    <a:cubicBezTo>
                      <a:pt x="22967" y="76231"/>
                      <a:pt x="41116" y="80612"/>
                      <a:pt x="59340" y="80612"/>
                    </a:cubicBezTo>
                    <a:cubicBezTo>
                      <a:pt x="77565" y="80612"/>
                      <a:pt x="95714" y="76231"/>
                      <a:pt x="111827" y="67944"/>
                    </a:cubicBezTo>
                    <a:cubicBezTo>
                      <a:pt x="116006" y="65796"/>
                      <a:pt x="118635" y="61492"/>
                      <a:pt x="118641" y="56796"/>
                    </a:cubicBezTo>
                    <a:cubicBezTo>
                      <a:pt x="118641" y="56796"/>
                      <a:pt x="118681" y="29389"/>
                      <a:pt x="118681" y="29389"/>
                    </a:cubicBezTo>
                    <a:cubicBezTo>
                      <a:pt x="118691" y="21651"/>
                      <a:pt x="115643" y="14330"/>
                      <a:pt x="110096" y="8777"/>
                    </a:cubicBezTo>
                    <a:close/>
                  </a:path>
                </a:pathLst>
              </a:custGeom>
              <a:grpFill/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8" name="Freihandform: Form 41">
                <a:extLst>
                  <a:ext uri="{FF2B5EF4-FFF2-40B4-BE49-F238E27FC236}">
                    <a16:creationId xmlns:a16="http://schemas.microsoft.com/office/drawing/2014/main" xmlns="" id="{66A6E38D-5BF1-4A03-A025-0B14BAD6201E}"/>
                  </a:ext>
                </a:extLst>
              </p:cNvPr>
              <p:cNvSpPr/>
              <p:nvPr/>
            </p:nvSpPr>
            <p:spPr>
              <a:xfrm>
                <a:off x="10455606" y="3947732"/>
                <a:ext cx="188999" cy="188999"/>
              </a:xfrm>
              <a:custGeom>
                <a:avLst/>
                <a:gdLst>
                  <a:gd name="connsiteX0" fmla="*/ 43343 w 86227"/>
                  <a:gd name="connsiteY0" fmla="*/ 86682 h 86227"/>
                  <a:gd name="connsiteX1" fmla="*/ 86685 w 86227"/>
                  <a:gd name="connsiteY1" fmla="*/ 43339 h 86227"/>
                  <a:gd name="connsiteX2" fmla="*/ 43343 w 86227"/>
                  <a:gd name="connsiteY2" fmla="*/ 0 h 86227"/>
                  <a:gd name="connsiteX3" fmla="*/ 0 w 86227"/>
                  <a:gd name="connsiteY3" fmla="*/ 43339 h 86227"/>
                  <a:gd name="connsiteX4" fmla="*/ 43343 w 86227"/>
                  <a:gd name="connsiteY4" fmla="*/ 86682 h 86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6227" h="86227">
                    <a:moveTo>
                      <a:pt x="43343" y="86682"/>
                    </a:moveTo>
                    <a:cubicBezTo>
                      <a:pt x="67244" y="86682"/>
                      <a:pt x="86685" y="67241"/>
                      <a:pt x="86685" y="43339"/>
                    </a:cubicBezTo>
                    <a:cubicBezTo>
                      <a:pt x="86685" y="19441"/>
                      <a:pt x="67241" y="0"/>
                      <a:pt x="43343" y="0"/>
                    </a:cubicBezTo>
                    <a:cubicBezTo>
                      <a:pt x="19445" y="0"/>
                      <a:pt x="0" y="19441"/>
                      <a:pt x="0" y="43339"/>
                    </a:cubicBezTo>
                    <a:cubicBezTo>
                      <a:pt x="0" y="67241"/>
                      <a:pt x="19445" y="86682"/>
                      <a:pt x="43343" y="86682"/>
                    </a:cubicBezTo>
                    <a:close/>
                  </a:path>
                </a:pathLst>
              </a:custGeom>
              <a:grpFill/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49" name="Freihandform: Form 42">
              <a:extLst>
                <a:ext uri="{FF2B5EF4-FFF2-40B4-BE49-F238E27FC236}">
                  <a16:creationId xmlns:a16="http://schemas.microsoft.com/office/drawing/2014/main" xmlns="" id="{D83F8D6C-DBA8-4D57-A176-1B24EC5FB018}"/>
                </a:ext>
              </a:extLst>
            </p:cNvPr>
            <p:cNvSpPr/>
            <p:nvPr/>
          </p:nvSpPr>
          <p:spPr>
            <a:xfrm>
              <a:off x="10116126" y="3920388"/>
              <a:ext cx="282581" cy="251388"/>
            </a:xfrm>
            <a:custGeom>
              <a:avLst/>
              <a:gdLst>
                <a:gd name="connsiteX0" fmla="*/ 123206 w 128922"/>
                <a:gd name="connsiteY0" fmla="*/ 92002 h 114690"/>
                <a:gd name="connsiteX1" fmla="*/ 77312 w 128922"/>
                <a:gd name="connsiteY1" fmla="*/ 65508 h 114690"/>
                <a:gd name="connsiteX2" fmla="*/ 77312 w 128922"/>
                <a:gd name="connsiteY2" fmla="*/ 12557 h 114690"/>
                <a:gd name="connsiteX3" fmla="*/ 64755 w 128922"/>
                <a:gd name="connsiteY3" fmla="*/ 0 h 114690"/>
                <a:gd name="connsiteX4" fmla="*/ 52198 w 128922"/>
                <a:gd name="connsiteY4" fmla="*/ 12557 h 114690"/>
                <a:gd name="connsiteX5" fmla="*/ 52198 w 128922"/>
                <a:gd name="connsiteY5" fmla="*/ 65524 h 114690"/>
                <a:gd name="connsiteX6" fmla="*/ 6282 w 128922"/>
                <a:gd name="connsiteY6" fmla="*/ 92035 h 114690"/>
                <a:gd name="connsiteX7" fmla="*/ 1683 w 128922"/>
                <a:gd name="connsiteY7" fmla="*/ 109187 h 114690"/>
                <a:gd name="connsiteX8" fmla="*/ 12570 w 128922"/>
                <a:gd name="connsiteY8" fmla="*/ 115469 h 114690"/>
                <a:gd name="connsiteX9" fmla="*/ 18839 w 128922"/>
                <a:gd name="connsiteY9" fmla="*/ 113785 h 114690"/>
                <a:gd name="connsiteX10" fmla="*/ 64772 w 128922"/>
                <a:gd name="connsiteY10" fmla="*/ 87264 h 114690"/>
                <a:gd name="connsiteX11" fmla="*/ 110649 w 128922"/>
                <a:gd name="connsiteY11" fmla="*/ 113756 h 114690"/>
                <a:gd name="connsiteX12" fmla="*/ 116917 w 128922"/>
                <a:gd name="connsiteY12" fmla="*/ 115440 h 114690"/>
                <a:gd name="connsiteX13" fmla="*/ 127804 w 128922"/>
                <a:gd name="connsiteY13" fmla="*/ 109158 h 114690"/>
                <a:gd name="connsiteX14" fmla="*/ 123206 w 128922"/>
                <a:gd name="connsiteY14" fmla="*/ 92002 h 11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8922" h="114690">
                  <a:moveTo>
                    <a:pt x="123206" y="92002"/>
                  </a:moveTo>
                  <a:lnTo>
                    <a:pt x="77312" y="65508"/>
                  </a:lnTo>
                  <a:lnTo>
                    <a:pt x="77312" y="12557"/>
                  </a:lnTo>
                  <a:cubicBezTo>
                    <a:pt x="77312" y="5622"/>
                    <a:pt x="71691" y="0"/>
                    <a:pt x="64755" y="0"/>
                  </a:cubicBezTo>
                  <a:cubicBezTo>
                    <a:pt x="57819" y="0"/>
                    <a:pt x="52198" y="5622"/>
                    <a:pt x="52198" y="12557"/>
                  </a:cubicBezTo>
                  <a:lnTo>
                    <a:pt x="52198" y="65524"/>
                  </a:lnTo>
                  <a:lnTo>
                    <a:pt x="6282" y="92035"/>
                  </a:lnTo>
                  <a:cubicBezTo>
                    <a:pt x="274" y="95501"/>
                    <a:pt x="-1782" y="103183"/>
                    <a:pt x="1683" y="109187"/>
                  </a:cubicBezTo>
                  <a:cubicBezTo>
                    <a:pt x="4009" y="113216"/>
                    <a:pt x="8231" y="115469"/>
                    <a:pt x="12570" y="115469"/>
                  </a:cubicBezTo>
                  <a:cubicBezTo>
                    <a:pt x="14702" y="115469"/>
                    <a:pt x="16860" y="114926"/>
                    <a:pt x="18839" y="113785"/>
                  </a:cubicBezTo>
                  <a:lnTo>
                    <a:pt x="64772" y="87264"/>
                  </a:lnTo>
                  <a:lnTo>
                    <a:pt x="110649" y="113756"/>
                  </a:lnTo>
                  <a:cubicBezTo>
                    <a:pt x="112627" y="114897"/>
                    <a:pt x="114785" y="115440"/>
                    <a:pt x="116917" y="115440"/>
                  </a:cubicBezTo>
                  <a:cubicBezTo>
                    <a:pt x="121256" y="115440"/>
                    <a:pt x="125475" y="113186"/>
                    <a:pt x="127804" y="109158"/>
                  </a:cubicBezTo>
                  <a:cubicBezTo>
                    <a:pt x="131270" y="103150"/>
                    <a:pt x="129213" y="95472"/>
                    <a:pt x="123206" y="92002"/>
                  </a:cubicBezTo>
                  <a:close/>
                </a:path>
              </a:pathLst>
            </a:custGeom>
            <a:grpFill/>
            <a:ln w="8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69" name="Gruppieren 68"/>
          <p:cNvGrpSpPr/>
          <p:nvPr/>
        </p:nvGrpSpPr>
        <p:grpSpPr>
          <a:xfrm>
            <a:off x="5261225" y="2043284"/>
            <a:ext cx="891646" cy="590325"/>
            <a:chOff x="5261225" y="2043284"/>
            <a:chExt cx="891646" cy="590325"/>
          </a:xfrm>
        </p:grpSpPr>
        <p:grpSp>
          <p:nvGrpSpPr>
            <p:cNvPr id="67" name="Gruppieren 66"/>
            <p:cNvGrpSpPr/>
            <p:nvPr/>
          </p:nvGrpSpPr>
          <p:grpSpPr>
            <a:xfrm>
              <a:off x="5261225" y="2106122"/>
              <a:ext cx="265856" cy="451277"/>
              <a:chOff x="5261225" y="2106122"/>
              <a:chExt cx="265856" cy="451277"/>
            </a:xfrm>
          </p:grpSpPr>
          <p:sp>
            <p:nvSpPr>
              <p:cNvPr id="59" name="Freihandform: Form 30">
                <a:extLst>
                  <a:ext uri="{FF2B5EF4-FFF2-40B4-BE49-F238E27FC236}">
                    <a16:creationId xmlns:a16="http://schemas.microsoft.com/office/drawing/2014/main" xmlns="" id="{F3230AB5-A734-49F2-AFEC-EA5BCAF8731B}"/>
                  </a:ext>
                </a:extLst>
              </p:cNvPr>
              <p:cNvSpPr/>
              <p:nvPr/>
            </p:nvSpPr>
            <p:spPr>
              <a:xfrm>
                <a:off x="5261225" y="2352966"/>
                <a:ext cx="265856" cy="204433"/>
              </a:xfrm>
              <a:custGeom>
                <a:avLst/>
                <a:gdLst/>
                <a:ahLst/>
                <a:cxnLst/>
                <a:rect l="l" t="t" r="r" b="b"/>
                <a:pathLst>
                  <a:path w="265856" h="204433">
                    <a:moveTo>
                      <a:pt x="73963" y="0"/>
                    </a:moveTo>
                    <a:cubicBezTo>
                      <a:pt x="99457" y="0"/>
                      <a:pt x="202461" y="64"/>
                      <a:pt x="227940" y="64"/>
                    </a:cubicBezTo>
                    <a:cubicBezTo>
                      <a:pt x="241527" y="64"/>
                      <a:pt x="254941" y="3896"/>
                      <a:pt x="265856" y="12043"/>
                    </a:cubicBezTo>
                    <a:cubicBezTo>
                      <a:pt x="258574" y="14318"/>
                      <a:pt x="252864" y="19024"/>
                      <a:pt x="247580" y="24316"/>
                    </a:cubicBezTo>
                    <a:cubicBezTo>
                      <a:pt x="226151" y="45772"/>
                      <a:pt x="214371" y="74242"/>
                      <a:pt x="214419" y="104464"/>
                    </a:cubicBezTo>
                    <a:lnTo>
                      <a:pt x="214544" y="196885"/>
                    </a:lnTo>
                    <a:lnTo>
                      <a:pt x="151294" y="204433"/>
                    </a:lnTo>
                    <a:cubicBezTo>
                      <a:pt x="104577" y="204433"/>
                      <a:pt x="58050" y="193203"/>
                      <a:pt x="16741" y="171966"/>
                    </a:cubicBezTo>
                    <a:cubicBezTo>
                      <a:pt x="6534" y="166719"/>
                      <a:pt x="113" y="156207"/>
                      <a:pt x="96" y="144729"/>
                    </a:cubicBezTo>
                    <a:lnTo>
                      <a:pt x="0" y="74010"/>
                    </a:lnTo>
                    <a:cubicBezTo>
                      <a:pt x="-32" y="54289"/>
                      <a:pt x="7652" y="35726"/>
                      <a:pt x="21631" y="21731"/>
                    </a:cubicBezTo>
                    <a:cubicBezTo>
                      <a:pt x="35624" y="7716"/>
                      <a:pt x="54211" y="0"/>
                      <a:pt x="7396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0" name="Freihandform: Form 31">
                <a:extLst>
                  <a:ext uri="{FF2B5EF4-FFF2-40B4-BE49-F238E27FC236}">
                    <a16:creationId xmlns:a16="http://schemas.microsoft.com/office/drawing/2014/main" xmlns="" id="{0C7F5A9F-D61B-4A34-B175-EF5652157093}"/>
                  </a:ext>
                </a:extLst>
              </p:cNvPr>
              <p:cNvSpPr/>
              <p:nvPr/>
            </p:nvSpPr>
            <p:spPr>
              <a:xfrm>
                <a:off x="5302439" y="2106122"/>
                <a:ext cx="218786" cy="218785"/>
              </a:xfrm>
              <a:custGeom>
                <a:avLst/>
                <a:gdLst>
                  <a:gd name="connsiteX0" fmla="*/ 45056 w 89575"/>
                  <a:gd name="connsiteY0" fmla="*/ 90106 h 89575"/>
                  <a:gd name="connsiteX1" fmla="*/ 90109 w 89575"/>
                  <a:gd name="connsiteY1" fmla="*/ 45053 h 89575"/>
                  <a:gd name="connsiteX2" fmla="*/ 45056 w 89575"/>
                  <a:gd name="connsiteY2" fmla="*/ 0 h 89575"/>
                  <a:gd name="connsiteX3" fmla="*/ 0 w 89575"/>
                  <a:gd name="connsiteY3" fmla="*/ 45053 h 89575"/>
                  <a:gd name="connsiteX4" fmla="*/ 45056 w 89575"/>
                  <a:gd name="connsiteY4" fmla="*/ 90106 h 8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575" h="89575">
                    <a:moveTo>
                      <a:pt x="45056" y="90106"/>
                    </a:moveTo>
                    <a:cubicBezTo>
                      <a:pt x="69896" y="90106"/>
                      <a:pt x="90109" y="69893"/>
                      <a:pt x="90109" y="45053"/>
                    </a:cubicBezTo>
                    <a:cubicBezTo>
                      <a:pt x="90109" y="20209"/>
                      <a:pt x="69896" y="0"/>
                      <a:pt x="45056" y="0"/>
                    </a:cubicBezTo>
                    <a:cubicBezTo>
                      <a:pt x="20213" y="0"/>
                      <a:pt x="0" y="20209"/>
                      <a:pt x="0" y="45053"/>
                    </a:cubicBezTo>
                    <a:cubicBezTo>
                      <a:pt x="0" y="69893"/>
                      <a:pt x="20213" y="90106"/>
                      <a:pt x="45056" y="9010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68" name="Gruppieren 67"/>
            <p:cNvGrpSpPr/>
            <p:nvPr/>
          </p:nvGrpSpPr>
          <p:grpSpPr>
            <a:xfrm>
              <a:off x="5886712" y="2106122"/>
              <a:ext cx="266159" cy="451277"/>
              <a:chOff x="5886712" y="2106122"/>
              <a:chExt cx="266159" cy="451277"/>
            </a:xfrm>
          </p:grpSpPr>
          <p:sp>
            <p:nvSpPr>
              <p:cNvPr id="57" name="Freihandform: Form 30">
                <a:extLst>
                  <a:ext uri="{FF2B5EF4-FFF2-40B4-BE49-F238E27FC236}">
                    <a16:creationId xmlns:a16="http://schemas.microsoft.com/office/drawing/2014/main" xmlns="" id="{F3230AB5-A734-49F2-AFEC-EA5BCAF8731B}"/>
                  </a:ext>
                </a:extLst>
              </p:cNvPr>
              <p:cNvSpPr/>
              <p:nvPr/>
            </p:nvSpPr>
            <p:spPr>
              <a:xfrm>
                <a:off x="5886712" y="2352966"/>
                <a:ext cx="266159" cy="204433"/>
              </a:xfrm>
              <a:custGeom>
                <a:avLst/>
                <a:gdLst/>
                <a:ahLst/>
                <a:cxnLst/>
                <a:rect l="l" t="t" r="r" b="b"/>
                <a:pathLst>
                  <a:path w="266159" h="204433">
                    <a:moveTo>
                      <a:pt x="37543" y="0"/>
                    </a:moveTo>
                    <a:cubicBezTo>
                      <a:pt x="63037" y="0"/>
                      <a:pt x="166041" y="64"/>
                      <a:pt x="191520" y="64"/>
                    </a:cubicBezTo>
                    <a:cubicBezTo>
                      <a:pt x="211202" y="64"/>
                      <a:pt x="230522" y="8107"/>
                      <a:pt x="244529" y="22131"/>
                    </a:cubicBezTo>
                    <a:cubicBezTo>
                      <a:pt x="258507" y="36124"/>
                      <a:pt x="266191" y="54568"/>
                      <a:pt x="266159" y="74066"/>
                    </a:cubicBezTo>
                    <a:lnTo>
                      <a:pt x="266064" y="144729"/>
                    </a:lnTo>
                    <a:cubicBezTo>
                      <a:pt x="266050" y="156207"/>
                      <a:pt x="259626" y="166719"/>
                      <a:pt x="249419" y="171958"/>
                    </a:cubicBezTo>
                    <a:cubicBezTo>
                      <a:pt x="208117" y="193203"/>
                      <a:pt x="161590" y="204433"/>
                      <a:pt x="114874" y="204433"/>
                    </a:cubicBezTo>
                    <a:cubicBezTo>
                      <a:pt x="93899" y="204433"/>
                      <a:pt x="72963" y="202170"/>
                      <a:pt x="52680" y="197012"/>
                    </a:cubicBezTo>
                    <a:lnTo>
                      <a:pt x="52807" y="104561"/>
                    </a:lnTo>
                    <a:cubicBezTo>
                      <a:pt x="52845" y="74672"/>
                      <a:pt x="41065" y="46386"/>
                      <a:pt x="19647" y="24930"/>
                    </a:cubicBezTo>
                    <a:lnTo>
                      <a:pt x="0" y="11799"/>
                    </a:lnTo>
                    <a:cubicBezTo>
                      <a:pt x="10727" y="3705"/>
                      <a:pt x="23855" y="0"/>
                      <a:pt x="3754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8" name="Freihandform: Form 31">
                <a:extLst>
                  <a:ext uri="{FF2B5EF4-FFF2-40B4-BE49-F238E27FC236}">
                    <a16:creationId xmlns:a16="http://schemas.microsoft.com/office/drawing/2014/main" xmlns="" id="{0C7F5A9F-D61B-4A34-B175-EF5652157093}"/>
                  </a:ext>
                </a:extLst>
              </p:cNvPr>
              <p:cNvSpPr/>
              <p:nvPr/>
            </p:nvSpPr>
            <p:spPr>
              <a:xfrm>
                <a:off x="5891505" y="2106122"/>
                <a:ext cx="218786" cy="218785"/>
              </a:xfrm>
              <a:custGeom>
                <a:avLst/>
                <a:gdLst>
                  <a:gd name="connsiteX0" fmla="*/ 45056 w 89575"/>
                  <a:gd name="connsiteY0" fmla="*/ 90106 h 89575"/>
                  <a:gd name="connsiteX1" fmla="*/ 90109 w 89575"/>
                  <a:gd name="connsiteY1" fmla="*/ 45053 h 89575"/>
                  <a:gd name="connsiteX2" fmla="*/ 45056 w 89575"/>
                  <a:gd name="connsiteY2" fmla="*/ 0 h 89575"/>
                  <a:gd name="connsiteX3" fmla="*/ 0 w 89575"/>
                  <a:gd name="connsiteY3" fmla="*/ 45053 h 89575"/>
                  <a:gd name="connsiteX4" fmla="*/ 45056 w 89575"/>
                  <a:gd name="connsiteY4" fmla="*/ 90106 h 8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575" h="89575">
                    <a:moveTo>
                      <a:pt x="45056" y="90106"/>
                    </a:moveTo>
                    <a:cubicBezTo>
                      <a:pt x="69896" y="90106"/>
                      <a:pt x="90109" y="69893"/>
                      <a:pt x="90109" y="45053"/>
                    </a:cubicBezTo>
                    <a:cubicBezTo>
                      <a:pt x="90109" y="20209"/>
                      <a:pt x="69896" y="0"/>
                      <a:pt x="45056" y="0"/>
                    </a:cubicBezTo>
                    <a:cubicBezTo>
                      <a:pt x="20213" y="0"/>
                      <a:pt x="0" y="20209"/>
                      <a:pt x="0" y="45053"/>
                    </a:cubicBezTo>
                    <a:cubicBezTo>
                      <a:pt x="0" y="69893"/>
                      <a:pt x="20213" y="90106"/>
                      <a:pt x="45056" y="9010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54" name="Gruppieren 53"/>
            <p:cNvGrpSpPr/>
            <p:nvPr/>
          </p:nvGrpSpPr>
          <p:grpSpPr>
            <a:xfrm>
              <a:off x="5508574" y="2043284"/>
              <a:ext cx="394942" cy="590325"/>
              <a:chOff x="992872" y="2044086"/>
              <a:chExt cx="123062" cy="183943"/>
            </a:xfrm>
            <a:solidFill>
              <a:schemeClr val="accent1"/>
            </a:solidFill>
          </p:grpSpPr>
          <p:sp>
            <p:nvSpPr>
              <p:cNvPr id="55" name="Freihandform: Form 32">
                <a:extLst>
                  <a:ext uri="{FF2B5EF4-FFF2-40B4-BE49-F238E27FC236}">
                    <a16:creationId xmlns:a16="http://schemas.microsoft.com/office/drawing/2014/main" xmlns="" id="{75234A9A-C503-4AFB-8C07-33A66E089EF0}"/>
                  </a:ext>
                </a:extLst>
              </p:cNvPr>
              <p:cNvSpPr/>
              <p:nvPr/>
            </p:nvSpPr>
            <p:spPr>
              <a:xfrm>
                <a:off x="992872" y="2145150"/>
                <a:ext cx="123062" cy="82879"/>
              </a:xfrm>
              <a:custGeom>
                <a:avLst/>
                <a:gdLst>
                  <a:gd name="connsiteX0" fmla="*/ 93320 w 123062"/>
                  <a:gd name="connsiteY0" fmla="*/ 26 h 82878"/>
                  <a:gd name="connsiteX1" fmla="*/ 30282 w 123062"/>
                  <a:gd name="connsiteY1" fmla="*/ 0 h 82878"/>
                  <a:gd name="connsiteX2" fmla="*/ 8856 w 123062"/>
                  <a:gd name="connsiteY2" fmla="*/ 8897 h 82878"/>
                  <a:gd name="connsiteX3" fmla="*/ 0 w 123062"/>
                  <a:gd name="connsiteY3" fmla="*/ 30301 h 82878"/>
                  <a:gd name="connsiteX4" fmla="*/ 39 w 123062"/>
                  <a:gd name="connsiteY4" fmla="*/ 59255 h 82878"/>
                  <a:gd name="connsiteX5" fmla="*/ 6854 w 123062"/>
                  <a:gd name="connsiteY5" fmla="*/ 70406 h 82878"/>
                  <a:gd name="connsiteX6" fmla="*/ 61940 w 123062"/>
                  <a:gd name="connsiteY6" fmla="*/ 83699 h 82878"/>
                  <a:gd name="connsiteX7" fmla="*/ 117029 w 123062"/>
                  <a:gd name="connsiteY7" fmla="*/ 70406 h 82878"/>
                  <a:gd name="connsiteX8" fmla="*/ 123843 w 123062"/>
                  <a:gd name="connsiteY8" fmla="*/ 59255 h 82878"/>
                  <a:gd name="connsiteX9" fmla="*/ 123883 w 123062"/>
                  <a:gd name="connsiteY9" fmla="*/ 30327 h 82878"/>
                  <a:gd name="connsiteX10" fmla="*/ 115027 w 123062"/>
                  <a:gd name="connsiteY10" fmla="*/ 9061 h 82878"/>
                  <a:gd name="connsiteX11" fmla="*/ 93320 w 123062"/>
                  <a:gd name="connsiteY11" fmla="*/ 26 h 82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3062" h="82878">
                    <a:moveTo>
                      <a:pt x="93320" y="26"/>
                    </a:moveTo>
                    <a:cubicBezTo>
                      <a:pt x="82889" y="26"/>
                      <a:pt x="40717" y="0"/>
                      <a:pt x="30282" y="0"/>
                    </a:cubicBezTo>
                    <a:cubicBezTo>
                      <a:pt x="22195" y="0"/>
                      <a:pt x="14585" y="3159"/>
                      <a:pt x="8856" y="8897"/>
                    </a:cubicBezTo>
                    <a:cubicBezTo>
                      <a:pt x="3133" y="14627"/>
                      <a:pt x="-13" y="22230"/>
                      <a:pt x="0" y="30301"/>
                    </a:cubicBezTo>
                    <a:lnTo>
                      <a:pt x="39" y="59255"/>
                    </a:lnTo>
                    <a:cubicBezTo>
                      <a:pt x="45" y="63954"/>
                      <a:pt x="2675" y="68258"/>
                      <a:pt x="6854" y="70406"/>
                    </a:cubicBezTo>
                    <a:cubicBezTo>
                      <a:pt x="23764" y="79101"/>
                      <a:pt x="42812" y="83699"/>
                      <a:pt x="61940" y="83699"/>
                    </a:cubicBezTo>
                    <a:cubicBezTo>
                      <a:pt x="81067" y="83699"/>
                      <a:pt x="100116" y="79101"/>
                      <a:pt x="117029" y="70406"/>
                    </a:cubicBezTo>
                    <a:cubicBezTo>
                      <a:pt x="121208" y="68258"/>
                      <a:pt x="123838" y="63954"/>
                      <a:pt x="123843" y="59255"/>
                    </a:cubicBezTo>
                    <a:lnTo>
                      <a:pt x="123883" y="30327"/>
                    </a:lnTo>
                    <a:cubicBezTo>
                      <a:pt x="123893" y="22345"/>
                      <a:pt x="120747" y="14791"/>
                      <a:pt x="115027" y="9061"/>
                    </a:cubicBezTo>
                    <a:cubicBezTo>
                      <a:pt x="109292" y="3319"/>
                      <a:pt x="101381" y="26"/>
                      <a:pt x="93320" y="26"/>
                    </a:cubicBezTo>
                    <a:close/>
                  </a:path>
                </a:pathLst>
              </a:custGeom>
              <a:grpFill/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6" name="Freihandform: Form 33">
                <a:extLst>
                  <a:ext uri="{FF2B5EF4-FFF2-40B4-BE49-F238E27FC236}">
                    <a16:creationId xmlns:a16="http://schemas.microsoft.com/office/drawing/2014/main" xmlns="" id="{9F90070D-198D-4372-9A3C-E136A24D87F7}"/>
                  </a:ext>
                </a:extLst>
              </p:cNvPr>
              <p:cNvSpPr/>
              <p:nvPr/>
            </p:nvSpPr>
            <p:spPr>
              <a:xfrm>
                <a:off x="1009746" y="2044086"/>
                <a:ext cx="89576" cy="89576"/>
              </a:xfrm>
              <a:custGeom>
                <a:avLst/>
                <a:gdLst>
                  <a:gd name="connsiteX0" fmla="*/ 90109 w 89575"/>
                  <a:gd name="connsiteY0" fmla="*/ 45053 h 89575"/>
                  <a:gd name="connsiteX1" fmla="*/ 45053 w 89575"/>
                  <a:gd name="connsiteY1" fmla="*/ 0 h 89575"/>
                  <a:gd name="connsiteX2" fmla="*/ 0 w 89575"/>
                  <a:gd name="connsiteY2" fmla="*/ 45053 h 89575"/>
                  <a:gd name="connsiteX3" fmla="*/ 45053 w 89575"/>
                  <a:gd name="connsiteY3" fmla="*/ 90106 h 89575"/>
                  <a:gd name="connsiteX4" fmla="*/ 90109 w 89575"/>
                  <a:gd name="connsiteY4" fmla="*/ 45053 h 8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575" h="89575">
                    <a:moveTo>
                      <a:pt x="90109" y="45053"/>
                    </a:moveTo>
                    <a:cubicBezTo>
                      <a:pt x="90109" y="20210"/>
                      <a:pt x="69896" y="0"/>
                      <a:pt x="45053" y="0"/>
                    </a:cubicBezTo>
                    <a:cubicBezTo>
                      <a:pt x="20213" y="0"/>
                      <a:pt x="0" y="20212"/>
                      <a:pt x="0" y="45053"/>
                    </a:cubicBezTo>
                    <a:cubicBezTo>
                      <a:pt x="0" y="69896"/>
                      <a:pt x="20213" y="90106"/>
                      <a:pt x="45053" y="90106"/>
                    </a:cubicBezTo>
                    <a:cubicBezTo>
                      <a:pt x="69896" y="90106"/>
                      <a:pt x="90109" y="69896"/>
                      <a:pt x="90109" y="45053"/>
                    </a:cubicBezTo>
                    <a:close/>
                  </a:path>
                </a:pathLst>
              </a:custGeom>
              <a:grpFill/>
              <a:ln w="83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grpSp>
        <p:nvGrpSpPr>
          <p:cNvPr id="35" name="Gruppieren 34"/>
          <p:cNvGrpSpPr>
            <a:grpSpLocks noChangeAspect="1"/>
          </p:cNvGrpSpPr>
          <p:nvPr/>
        </p:nvGrpSpPr>
        <p:grpSpPr>
          <a:xfrm>
            <a:off x="419417" y="3745360"/>
            <a:ext cx="460822" cy="609911"/>
            <a:chOff x="4961753" y="859537"/>
            <a:chExt cx="323850" cy="428625"/>
          </a:xfrm>
          <a:solidFill>
            <a:schemeClr val="accent1"/>
          </a:solidFill>
        </p:grpSpPr>
        <p:sp>
          <p:nvSpPr>
            <p:cNvPr id="36" name="Freihandform: Form 21">
              <a:extLst>
                <a:ext uri="{FF2B5EF4-FFF2-40B4-BE49-F238E27FC236}">
                  <a16:creationId xmlns:a16="http://schemas.microsoft.com/office/drawing/2014/main" xmlns="" id="{23DAF47B-511B-47FF-B81E-8530FEA9A965}"/>
                </a:ext>
              </a:extLst>
            </p:cNvPr>
            <p:cNvSpPr/>
            <p:nvPr/>
          </p:nvSpPr>
          <p:spPr>
            <a:xfrm>
              <a:off x="5027809" y="963179"/>
              <a:ext cx="200025" cy="19050"/>
            </a:xfrm>
            <a:custGeom>
              <a:avLst/>
              <a:gdLst>
                <a:gd name="connsiteX0" fmla="*/ 11516 w 200025"/>
                <a:gd name="connsiteY0" fmla="*/ 23813 h 19050"/>
                <a:gd name="connsiteX1" fmla="*/ 194891 w 200025"/>
                <a:gd name="connsiteY1" fmla="*/ 23813 h 19050"/>
                <a:gd name="connsiteX2" fmla="*/ 194891 w 200025"/>
                <a:gd name="connsiteY2" fmla="*/ 0 h 19050"/>
                <a:gd name="connsiteX3" fmla="*/ 11516 w 200025"/>
                <a:gd name="connsiteY3" fmla="*/ 0 h 19050"/>
                <a:gd name="connsiteX4" fmla="*/ 11516 w 200025"/>
                <a:gd name="connsiteY4" fmla="*/ 2381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5" h="19050">
                  <a:moveTo>
                    <a:pt x="11516" y="23813"/>
                  </a:moveTo>
                  <a:cubicBezTo>
                    <a:pt x="72647" y="23813"/>
                    <a:pt x="133760" y="23813"/>
                    <a:pt x="194891" y="23813"/>
                  </a:cubicBezTo>
                  <a:cubicBezTo>
                    <a:pt x="210255" y="23813"/>
                    <a:pt x="210255" y="0"/>
                    <a:pt x="194891" y="0"/>
                  </a:cubicBezTo>
                  <a:cubicBezTo>
                    <a:pt x="133760" y="0"/>
                    <a:pt x="72647" y="0"/>
                    <a:pt x="11516" y="0"/>
                  </a:cubicBezTo>
                  <a:cubicBezTo>
                    <a:pt x="-3839" y="0"/>
                    <a:pt x="-3839" y="23813"/>
                    <a:pt x="11516" y="238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22">
              <a:extLst>
                <a:ext uri="{FF2B5EF4-FFF2-40B4-BE49-F238E27FC236}">
                  <a16:creationId xmlns:a16="http://schemas.microsoft.com/office/drawing/2014/main" xmlns="" id="{9340A6C7-FE88-40E1-AC99-860752A8C774}"/>
                </a:ext>
              </a:extLst>
            </p:cNvPr>
            <p:cNvSpPr/>
            <p:nvPr/>
          </p:nvSpPr>
          <p:spPr>
            <a:xfrm>
              <a:off x="5027818" y="1019538"/>
              <a:ext cx="200025" cy="19050"/>
            </a:xfrm>
            <a:custGeom>
              <a:avLst/>
              <a:gdLst>
                <a:gd name="connsiteX0" fmla="*/ 194901 w 200025"/>
                <a:gd name="connsiteY0" fmla="*/ 0 h 19050"/>
                <a:gd name="connsiteX1" fmla="*/ 11516 w 200025"/>
                <a:gd name="connsiteY1" fmla="*/ 0 h 19050"/>
                <a:gd name="connsiteX2" fmla="*/ 11516 w 200025"/>
                <a:gd name="connsiteY2" fmla="*/ 23813 h 19050"/>
                <a:gd name="connsiteX3" fmla="*/ 194901 w 200025"/>
                <a:gd name="connsiteY3" fmla="*/ 23813 h 19050"/>
                <a:gd name="connsiteX4" fmla="*/ 194901 w 200025"/>
                <a:gd name="connsiteY4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5" h="19050">
                  <a:moveTo>
                    <a:pt x="194901" y="0"/>
                  </a:moveTo>
                  <a:cubicBezTo>
                    <a:pt x="133769" y="0"/>
                    <a:pt x="72647" y="0"/>
                    <a:pt x="11516" y="0"/>
                  </a:cubicBezTo>
                  <a:cubicBezTo>
                    <a:pt x="-3839" y="0"/>
                    <a:pt x="-3839" y="23813"/>
                    <a:pt x="11516" y="23813"/>
                  </a:cubicBezTo>
                  <a:cubicBezTo>
                    <a:pt x="72647" y="23813"/>
                    <a:pt x="133769" y="23813"/>
                    <a:pt x="194901" y="23813"/>
                  </a:cubicBezTo>
                  <a:cubicBezTo>
                    <a:pt x="210245" y="23813"/>
                    <a:pt x="210245" y="0"/>
                    <a:pt x="19490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ihandform: Form 23">
              <a:extLst>
                <a:ext uri="{FF2B5EF4-FFF2-40B4-BE49-F238E27FC236}">
                  <a16:creationId xmlns:a16="http://schemas.microsoft.com/office/drawing/2014/main" xmlns="" id="{3638A76E-46AA-4DD7-84E0-7CA024B1BEE7}"/>
                </a:ext>
              </a:extLst>
            </p:cNvPr>
            <p:cNvSpPr/>
            <p:nvPr/>
          </p:nvSpPr>
          <p:spPr>
            <a:xfrm>
              <a:off x="5027818" y="1071764"/>
              <a:ext cx="200025" cy="19050"/>
            </a:xfrm>
            <a:custGeom>
              <a:avLst/>
              <a:gdLst>
                <a:gd name="connsiteX0" fmla="*/ 194901 w 200025"/>
                <a:gd name="connsiteY0" fmla="*/ 0 h 19050"/>
                <a:gd name="connsiteX1" fmla="*/ 11516 w 200025"/>
                <a:gd name="connsiteY1" fmla="*/ 0 h 19050"/>
                <a:gd name="connsiteX2" fmla="*/ 11516 w 200025"/>
                <a:gd name="connsiteY2" fmla="*/ 23813 h 19050"/>
                <a:gd name="connsiteX3" fmla="*/ 194901 w 200025"/>
                <a:gd name="connsiteY3" fmla="*/ 23813 h 19050"/>
                <a:gd name="connsiteX4" fmla="*/ 194901 w 200025"/>
                <a:gd name="connsiteY4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5" h="19050">
                  <a:moveTo>
                    <a:pt x="194901" y="0"/>
                  </a:moveTo>
                  <a:cubicBezTo>
                    <a:pt x="133769" y="0"/>
                    <a:pt x="72647" y="0"/>
                    <a:pt x="11516" y="0"/>
                  </a:cubicBezTo>
                  <a:cubicBezTo>
                    <a:pt x="-3839" y="0"/>
                    <a:pt x="-3839" y="23813"/>
                    <a:pt x="11516" y="23813"/>
                  </a:cubicBezTo>
                  <a:cubicBezTo>
                    <a:pt x="72647" y="23813"/>
                    <a:pt x="133769" y="23813"/>
                    <a:pt x="194901" y="23813"/>
                  </a:cubicBezTo>
                  <a:cubicBezTo>
                    <a:pt x="210245" y="23813"/>
                    <a:pt x="210245" y="0"/>
                    <a:pt x="19490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ihandform: Form 24">
              <a:extLst>
                <a:ext uri="{FF2B5EF4-FFF2-40B4-BE49-F238E27FC236}">
                  <a16:creationId xmlns:a16="http://schemas.microsoft.com/office/drawing/2014/main" xmlns="" id="{71D19AEF-1977-4A7A-BC5A-BD81E7546DDD}"/>
                </a:ext>
              </a:extLst>
            </p:cNvPr>
            <p:cNvSpPr/>
            <p:nvPr/>
          </p:nvSpPr>
          <p:spPr>
            <a:xfrm>
              <a:off x="5027818" y="1128113"/>
              <a:ext cx="200025" cy="19050"/>
            </a:xfrm>
            <a:custGeom>
              <a:avLst/>
              <a:gdLst>
                <a:gd name="connsiteX0" fmla="*/ 194901 w 200025"/>
                <a:gd name="connsiteY0" fmla="*/ 0 h 19050"/>
                <a:gd name="connsiteX1" fmla="*/ 11516 w 200025"/>
                <a:gd name="connsiteY1" fmla="*/ 0 h 19050"/>
                <a:gd name="connsiteX2" fmla="*/ 11516 w 200025"/>
                <a:gd name="connsiteY2" fmla="*/ 23813 h 19050"/>
                <a:gd name="connsiteX3" fmla="*/ 194901 w 200025"/>
                <a:gd name="connsiteY3" fmla="*/ 23813 h 19050"/>
                <a:gd name="connsiteX4" fmla="*/ 194901 w 200025"/>
                <a:gd name="connsiteY4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5" h="19050">
                  <a:moveTo>
                    <a:pt x="194901" y="0"/>
                  </a:moveTo>
                  <a:cubicBezTo>
                    <a:pt x="133769" y="0"/>
                    <a:pt x="72647" y="0"/>
                    <a:pt x="11516" y="0"/>
                  </a:cubicBezTo>
                  <a:cubicBezTo>
                    <a:pt x="-3839" y="0"/>
                    <a:pt x="-3839" y="23813"/>
                    <a:pt x="11516" y="23813"/>
                  </a:cubicBezTo>
                  <a:cubicBezTo>
                    <a:pt x="72647" y="23813"/>
                    <a:pt x="133769" y="23813"/>
                    <a:pt x="194901" y="23813"/>
                  </a:cubicBezTo>
                  <a:cubicBezTo>
                    <a:pt x="210245" y="23813"/>
                    <a:pt x="210245" y="0"/>
                    <a:pt x="19490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ihandform: Form 25">
              <a:extLst>
                <a:ext uri="{FF2B5EF4-FFF2-40B4-BE49-F238E27FC236}">
                  <a16:creationId xmlns:a16="http://schemas.microsoft.com/office/drawing/2014/main" xmlns="" id="{6A425B44-6073-46FA-8909-E498972201F1}"/>
                </a:ext>
              </a:extLst>
            </p:cNvPr>
            <p:cNvSpPr/>
            <p:nvPr/>
          </p:nvSpPr>
          <p:spPr>
            <a:xfrm>
              <a:off x="5024275" y="1181301"/>
              <a:ext cx="200025" cy="19050"/>
            </a:xfrm>
            <a:custGeom>
              <a:avLst/>
              <a:gdLst>
                <a:gd name="connsiteX0" fmla="*/ 194891 w 200025"/>
                <a:gd name="connsiteY0" fmla="*/ 0 h 19050"/>
                <a:gd name="connsiteX1" fmla="*/ 11516 w 200025"/>
                <a:gd name="connsiteY1" fmla="*/ 0 h 19050"/>
                <a:gd name="connsiteX2" fmla="*/ 11516 w 200025"/>
                <a:gd name="connsiteY2" fmla="*/ 23813 h 19050"/>
                <a:gd name="connsiteX3" fmla="*/ 194891 w 200025"/>
                <a:gd name="connsiteY3" fmla="*/ 23813 h 19050"/>
                <a:gd name="connsiteX4" fmla="*/ 194891 w 200025"/>
                <a:gd name="connsiteY4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5" h="19050">
                  <a:moveTo>
                    <a:pt x="194891" y="0"/>
                  </a:moveTo>
                  <a:cubicBezTo>
                    <a:pt x="133760" y="0"/>
                    <a:pt x="72647" y="0"/>
                    <a:pt x="11516" y="0"/>
                  </a:cubicBezTo>
                  <a:cubicBezTo>
                    <a:pt x="-3839" y="0"/>
                    <a:pt x="-3839" y="23813"/>
                    <a:pt x="11516" y="23813"/>
                  </a:cubicBezTo>
                  <a:cubicBezTo>
                    <a:pt x="72647" y="23813"/>
                    <a:pt x="133760" y="23813"/>
                    <a:pt x="194891" y="23813"/>
                  </a:cubicBezTo>
                  <a:cubicBezTo>
                    <a:pt x="210255" y="23813"/>
                    <a:pt x="210255" y="0"/>
                    <a:pt x="194891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ihandform: Form 26">
              <a:extLst>
                <a:ext uri="{FF2B5EF4-FFF2-40B4-BE49-F238E27FC236}">
                  <a16:creationId xmlns:a16="http://schemas.microsoft.com/office/drawing/2014/main" xmlns="" id="{B115FC25-FA03-4297-A820-CF9B5FDA6CC7}"/>
                </a:ext>
              </a:extLst>
            </p:cNvPr>
            <p:cNvSpPr/>
            <p:nvPr/>
          </p:nvSpPr>
          <p:spPr>
            <a:xfrm>
              <a:off x="4961753" y="859537"/>
              <a:ext cx="323850" cy="428625"/>
            </a:xfrm>
            <a:custGeom>
              <a:avLst/>
              <a:gdLst>
                <a:gd name="connsiteX0" fmla="*/ 269100 w 323850"/>
                <a:gd name="connsiteY0" fmla="*/ 0 h 428625"/>
                <a:gd name="connsiteX1" fmla="*/ 0 w 323850"/>
                <a:gd name="connsiteY1" fmla="*/ 0 h 428625"/>
                <a:gd name="connsiteX2" fmla="*/ 0 w 323850"/>
                <a:gd name="connsiteY2" fmla="*/ 429168 h 428625"/>
                <a:gd name="connsiteX3" fmla="*/ 330508 w 323850"/>
                <a:gd name="connsiteY3" fmla="*/ 429168 h 428625"/>
                <a:gd name="connsiteX4" fmla="*/ 330508 w 323850"/>
                <a:gd name="connsiteY4" fmla="*/ 59541 h 428625"/>
                <a:gd name="connsiteX5" fmla="*/ 269100 w 323850"/>
                <a:gd name="connsiteY5" fmla="*/ 0 h 428625"/>
                <a:gd name="connsiteX6" fmla="*/ 301933 w 323850"/>
                <a:gd name="connsiteY6" fmla="*/ 400583 h 428625"/>
                <a:gd name="connsiteX7" fmla="*/ 28575 w 323850"/>
                <a:gd name="connsiteY7" fmla="*/ 400583 h 428625"/>
                <a:gd name="connsiteX8" fmla="*/ 28575 w 323850"/>
                <a:gd name="connsiteY8" fmla="*/ 28575 h 428625"/>
                <a:gd name="connsiteX9" fmla="*/ 254384 w 323850"/>
                <a:gd name="connsiteY9" fmla="*/ 28575 h 428625"/>
                <a:gd name="connsiteX10" fmla="*/ 254384 w 323850"/>
                <a:gd name="connsiteY10" fmla="*/ 73914 h 428625"/>
                <a:gd name="connsiteX11" fmla="*/ 301933 w 323850"/>
                <a:gd name="connsiteY11" fmla="*/ 73914 h 428625"/>
                <a:gd name="connsiteX12" fmla="*/ 301933 w 323850"/>
                <a:gd name="connsiteY12" fmla="*/ 400583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3850" h="428625">
                  <a:moveTo>
                    <a:pt x="269100" y="0"/>
                  </a:moveTo>
                  <a:lnTo>
                    <a:pt x="0" y="0"/>
                  </a:lnTo>
                  <a:lnTo>
                    <a:pt x="0" y="429168"/>
                  </a:lnTo>
                  <a:lnTo>
                    <a:pt x="330508" y="429168"/>
                  </a:lnTo>
                  <a:lnTo>
                    <a:pt x="330508" y="59541"/>
                  </a:lnTo>
                  <a:lnTo>
                    <a:pt x="269100" y="0"/>
                  </a:lnTo>
                  <a:close/>
                  <a:moveTo>
                    <a:pt x="301933" y="400583"/>
                  </a:moveTo>
                  <a:lnTo>
                    <a:pt x="28575" y="400583"/>
                  </a:lnTo>
                  <a:lnTo>
                    <a:pt x="28575" y="28575"/>
                  </a:lnTo>
                  <a:lnTo>
                    <a:pt x="254384" y="28575"/>
                  </a:lnTo>
                  <a:lnTo>
                    <a:pt x="254384" y="73914"/>
                  </a:lnTo>
                  <a:lnTo>
                    <a:pt x="301933" y="73914"/>
                  </a:lnTo>
                  <a:lnTo>
                    <a:pt x="301933" y="4005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1" name="Textplatzhalter 12"/>
          <p:cNvSpPr txBox="1">
            <a:spLocks/>
          </p:cNvSpPr>
          <p:nvPr/>
        </p:nvSpPr>
        <p:spPr>
          <a:xfrm>
            <a:off x="967682" y="3730288"/>
            <a:ext cx="1400816" cy="67006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US" sz="4000" b="1" dirty="0">
                <a:solidFill>
                  <a:schemeClr val="accent1"/>
                </a:solidFill>
              </a:rPr>
              <a:t>22 751</a:t>
            </a:r>
          </a:p>
          <a:p>
            <a:pPr>
              <a:lnSpc>
                <a:spcPct val="80000"/>
              </a:lnSpc>
            </a:pPr>
            <a:r>
              <a:rPr lang="en-US" sz="1400" b="1" dirty="0">
                <a:solidFill>
                  <a:schemeClr val="accent1"/>
                </a:solidFill>
              </a:rPr>
              <a:t>ÖNORM-Standards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9297656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41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000" b="1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7940191" y="2789939"/>
            <a:ext cx="2475398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>
                <a:solidFill>
                  <a:schemeClr val="accent1"/>
                </a:solidFill>
              </a:rPr>
              <a:t>International </a:t>
            </a:r>
            <a:endParaRPr lang="en-GB" b="1" dirty="0">
              <a:solidFill>
                <a:schemeClr val="accent1"/>
              </a:solidFill>
            </a:endParaRPr>
          </a:p>
        </p:txBody>
      </p:sp>
      <p:sp>
        <p:nvSpPr>
          <p:cNvPr id="109" name="Rechteck 108"/>
          <p:cNvSpPr/>
          <p:nvPr/>
        </p:nvSpPr>
        <p:spPr>
          <a:xfrm>
            <a:off x="7940191" y="3132197"/>
            <a:ext cx="2475398" cy="108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>
          <a:xfrm>
            <a:off x="7940191" y="4284152"/>
            <a:ext cx="2475398" cy="108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11" name="Rechteck 110"/>
          <p:cNvSpPr/>
          <p:nvPr/>
        </p:nvSpPr>
        <p:spPr>
          <a:xfrm>
            <a:off x="7940191" y="5436108"/>
            <a:ext cx="2475398" cy="108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/>
          <p:nvPr/>
        </p:nvSpPr>
        <p:spPr>
          <a:xfrm>
            <a:off x="2580243" y="3132197"/>
            <a:ext cx="2475398" cy="108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5260217" y="2796397"/>
            <a:ext cx="2475398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>
                <a:solidFill>
                  <a:schemeClr val="accent1"/>
                </a:solidFill>
              </a:rPr>
              <a:t>European</a:t>
            </a:r>
            <a:endParaRPr lang="en-GB" b="1" dirty="0">
              <a:solidFill>
                <a:schemeClr val="accent1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2580243" y="4284152"/>
            <a:ext cx="2475398" cy="108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/>
        </p:nvSpPr>
        <p:spPr>
          <a:xfrm>
            <a:off x="2580243" y="5436108"/>
            <a:ext cx="2475398" cy="108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5260217" y="3132197"/>
            <a:ext cx="2475398" cy="108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5260217" y="4284152"/>
            <a:ext cx="2475398" cy="108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5260217" y="5436108"/>
            <a:ext cx="2475398" cy="108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62F75-52E4-4E2C-B34F-A32CE8B1CC48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962" y="904858"/>
            <a:ext cx="11522075" cy="438582"/>
          </a:xfrm>
        </p:spPr>
        <p:txBody>
          <a:bodyPr/>
          <a:lstStyle/>
          <a:p>
            <a:r>
              <a:rPr lang="en-GB" dirty="0"/>
              <a:t>International Significance of Standardization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3"/>
          </p:nvPr>
        </p:nvSpPr>
        <p:spPr>
          <a:xfrm>
            <a:off x="334963" y="1923733"/>
            <a:ext cx="10080626" cy="307777"/>
          </a:xfrm>
        </p:spPr>
        <p:txBody>
          <a:bodyPr/>
          <a:lstStyle/>
          <a:p>
            <a:r>
              <a:rPr lang="en-US" dirty="0"/>
              <a:t>We ensure that experts play a leading role in shaping European and international standards.</a:t>
            </a:r>
          </a:p>
        </p:txBody>
      </p:sp>
      <p:sp>
        <p:nvSpPr>
          <p:cNvPr id="26" name="Freihandform 25"/>
          <p:cNvSpPr/>
          <p:nvPr/>
        </p:nvSpPr>
        <p:spPr>
          <a:xfrm>
            <a:off x="2511" y="1968718"/>
            <a:ext cx="2449922" cy="974796"/>
          </a:xfrm>
          <a:custGeom>
            <a:avLst/>
            <a:gdLst>
              <a:gd name="connsiteX0" fmla="*/ 0 w 2449922"/>
              <a:gd name="connsiteY0" fmla="*/ 97480 h 974796"/>
              <a:gd name="connsiteX1" fmla="*/ 97480 w 2449922"/>
              <a:gd name="connsiteY1" fmla="*/ 0 h 974796"/>
              <a:gd name="connsiteX2" fmla="*/ 2352442 w 2449922"/>
              <a:gd name="connsiteY2" fmla="*/ 0 h 974796"/>
              <a:gd name="connsiteX3" fmla="*/ 2449922 w 2449922"/>
              <a:gd name="connsiteY3" fmla="*/ 97480 h 974796"/>
              <a:gd name="connsiteX4" fmla="*/ 2449922 w 2449922"/>
              <a:gd name="connsiteY4" fmla="*/ 877316 h 974796"/>
              <a:gd name="connsiteX5" fmla="*/ 2352442 w 2449922"/>
              <a:gd name="connsiteY5" fmla="*/ 974796 h 974796"/>
              <a:gd name="connsiteX6" fmla="*/ 97480 w 2449922"/>
              <a:gd name="connsiteY6" fmla="*/ 974796 h 974796"/>
              <a:gd name="connsiteX7" fmla="*/ 0 w 2449922"/>
              <a:gd name="connsiteY7" fmla="*/ 877316 h 974796"/>
              <a:gd name="connsiteX8" fmla="*/ 0 w 2449922"/>
              <a:gd name="connsiteY8" fmla="*/ 97480 h 97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49922" h="974796">
                <a:moveTo>
                  <a:pt x="0" y="97480"/>
                </a:moveTo>
                <a:cubicBezTo>
                  <a:pt x="0" y="43643"/>
                  <a:pt x="43643" y="0"/>
                  <a:pt x="97480" y="0"/>
                </a:cubicBezTo>
                <a:lnTo>
                  <a:pt x="2352442" y="0"/>
                </a:lnTo>
                <a:cubicBezTo>
                  <a:pt x="2406279" y="0"/>
                  <a:pt x="2449922" y="43643"/>
                  <a:pt x="2449922" y="97480"/>
                </a:cubicBezTo>
                <a:lnTo>
                  <a:pt x="2449922" y="877316"/>
                </a:lnTo>
                <a:cubicBezTo>
                  <a:pt x="2449922" y="931153"/>
                  <a:pt x="2406279" y="974796"/>
                  <a:pt x="2352442" y="974796"/>
                </a:cubicBezTo>
                <a:lnTo>
                  <a:pt x="97480" y="974796"/>
                </a:lnTo>
                <a:cubicBezTo>
                  <a:pt x="43643" y="974796"/>
                  <a:pt x="0" y="931153"/>
                  <a:pt x="0" y="877316"/>
                </a:cubicBezTo>
                <a:lnTo>
                  <a:pt x="0" y="9748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701" tIns="85701" rIns="85701" bIns="85701" numCol="1" spcCol="1270" anchor="ctr" anchorCtr="0">
            <a:noAutofit/>
          </a:bodyPr>
          <a:lstStyle/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dirty="0"/>
          </a:p>
        </p:txBody>
      </p:sp>
      <p:sp>
        <p:nvSpPr>
          <p:cNvPr id="27" name="Rechteck 26"/>
          <p:cNvSpPr/>
          <p:nvPr/>
        </p:nvSpPr>
        <p:spPr>
          <a:xfrm>
            <a:off x="334963" y="3422898"/>
            <a:ext cx="1792601" cy="498598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dirty="0">
                <a:solidFill>
                  <a:schemeClr val="tx1"/>
                </a:solidFill>
              </a:rPr>
              <a:t>General </a:t>
            </a:r>
            <a:br>
              <a:rPr lang="en-GB" b="1" dirty="0">
                <a:solidFill>
                  <a:schemeClr val="tx1"/>
                </a:solidFill>
              </a:rPr>
            </a:br>
            <a:r>
              <a:rPr lang="en-GB" b="1" dirty="0">
                <a:solidFill>
                  <a:schemeClr val="tx1"/>
                </a:solidFill>
              </a:rPr>
              <a:t>standardization</a:t>
            </a:r>
          </a:p>
        </p:txBody>
      </p:sp>
      <p:sp>
        <p:nvSpPr>
          <p:cNvPr id="28" name="Rechteck 27"/>
          <p:cNvSpPr/>
          <p:nvPr/>
        </p:nvSpPr>
        <p:spPr>
          <a:xfrm>
            <a:off x="334963" y="4699502"/>
            <a:ext cx="1792601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dirty="0">
                <a:solidFill>
                  <a:schemeClr val="tx1"/>
                </a:solidFill>
              </a:rPr>
              <a:t>Electrotechnology</a:t>
            </a:r>
          </a:p>
        </p:txBody>
      </p:sp>
      <p:sp>
        <p:nvSpPr>
          <p:cNvPr id="29" name="Rechteck 28"/>
          <p:cNvSpPr/>
          <p:nvPr/>
        </p:nvSpPr>
        <p:spPr>
          <a:xfrm>
            <a:off x="334963" y="5851458"/>
            <a:ext cx="1792601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dirty="0">
                <a:solidFill>
                  <a:schemeClr val="tx1"/>
                </a:solidFill>
              </a:rPr>
              <a:t>Telecommunication</a:t>
            </a:r>
          </a:p>
        </p:txBody>
      </p:sp>
      <p:sp>
        <p:nvSpPr>
          <p:cNvPr id="30" name="Rechteck 29"/>
          <p:cNvSpPr/>
          <p:nvPr/>
        </p:nvSpPr>
        <p:spPr>
          <a:xfrm>
            <a:off x="2580243" y="2793204"/>
            <a:ext cx="2475398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>
                <a:solidFill>
                  <a:schemeClr val="accent1"/>
                </a:solidFill>
              </a:rPr>
              <a:t>National</a:t>
            </a:r>
            <a:endParaRPr lang="en-GB" b="1" dirty="0">
              <a:solidFill>
                <a:schemeClr val="accent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033" y="3367942"/>
            <a:ext cx="769766" cy="6085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858" y="4438020"/>
            <a:ext cx="1404116" cy="772264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Rechteck 41"/>
          <p:cNvSpPr/>
          <p:nvPr/>
        </p:nvSpPr>
        <p:spPr>
          <a:xfrm>
            <a:off x="2580243" y="2443351"/>
            <a:ext cx="2370339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lvl="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>
                <a:solidFill>
                  <a:schemeClr val="accent1"/>
                </a:solidFill>
              </a:rPr>
              <a:t>Level</a:t>
            </a:r>
            <a:endParaRPr lang="en-GB" b="1" dirty="0">
              <a:solidFill>
                <a:schemeClr val="accent1"/>
              </a:solidFill>
            </a:endParaRPr>
          </a:p>
        </p:txBody>
      </p:sp>
      <p:pic>
        <p:nvPicPr>
          <p:cNvPr id="163845" name="Picture 5" descr="Bildergebnis für logo etsi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3942" y="5734660"/>
            <a:ext cx="1547948" cy="482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52" name="Picture 12" descr="OVE Logo RGB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6665" y="4615660"/>
            <a:ext cx="1022554" cy="416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54" name="Picture 14" descr="Bildergebnis für logo itu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6713" y="5604453"/>
            <a:ext cx="662355" cy="743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56" name="Picture 16" descr="Bildergebnis für logo iec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7222" y="4493484"/>
            <a:ext cx="661336" cy="66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0" name="Picture 20" descr="Datei:ISO Logo (Red square).sv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7222" y="3367942"/>
            <a:ext cx="661336" cy="6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2" name="Gruppieren 51"/>
          <p:cNvGrpSpPr>
            <a:grpSpLocks noChangeAspect="1"/>
          </p:cNvGrpSpPr>
          <p:nvPr/>
        </p:nvGrpSpPr>
        <p:grpSpPr>
          <a:xfrm>
            <a:off x="3097942" y="3490488"/>
            <a:ext cx="1440000" cy="363418"/>
            <a:chOff x="9420775" y="887675"/>
            <a:chExt cx="2507933" cy="632937"/>
          </a:xfrm>
        </p:grpSpPr>
        <p:sp>
          <p:nvSpPr>
            <p:cNvPr id="53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10201730" y="988069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10442235" y="990355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10674551" y="988259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889626" y="990355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1117464" y="990355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1364542" y="990355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710395" y="990355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1455981" y="988069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10194015" y="1254388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10367465" y="1255626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1562281" y="1256007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1165851" y="1254483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10550059" y="1254483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748751" y="1256007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962206" y="1256007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1363494" y="1255816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766783" y="1254388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9420775" y="901487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9429157" y="887675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3097942" y="5557740"/>
            <a:ext cx="1440000" cy="836736"/>
            <a:chOff x="3289622" y="5311746"/>
            <a:chExt cx="1440000" cy="836736"/>
          </a:xfrm>
        </p:grpSpPr>
        <p:pic>
          <p:nvPicPr>
            <p:cNvPr id="51" name="Picture 12" descr="OVE Logo RGB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8345" y="5731498"/>
              <a:ext cx="1022554" cy="4169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2" name="Gruppieren 71"/>
            <p:cNvGrpSpPr>
              <a:grpSpLocks noChangeAspect="1"/>
            </p:cNvGrpSpPr>
            <p:nvPr/>
          </p:nvGrpSpPr>
          <p:grpSpPr>
            <a:xfrm>
              <a:off x="3289622" y="5311746"/>
              <a:ext cx="1440000" cy="363418"/>
              <a:chOff x="9420775" y="887675"/>
              <a:chExt cx="2507933" cy="632937"/>
            </a:xfrm>
          </p:grpSpPr>
          <p:sp>
            <p:nvSpPr>
              <p:cNvPr id="73" name="Freihandform: Form 4">
                <a:extLst>
                  <a:ext uri="{FF2B5EF4-FFF2-40B4-BE49-F238E27FC236}">
                    <a16:creationId xmlns:a16="http://schemas.microsoft.com/office/drawing/2014/main" xmlns="" id="{F0A378DA-9BFD-4E3B-B25C-70EF1AA051D4}"/>
                  </a:ext>
                </a:extLst>
              </p:cNvPr>
              <p:cNvSpPr/>
              <p:nvPr/>
            </p:nvSpPr>
            <p:spPr>
              <a:xfrm>
                <a:off x="10201730" y="988069"/>
                <a:ext cx="190500" cy="200025"/>
              </a:xfrm>
              <a:custGeom>
                <a:avLst/>
                <a:gdLst>
                  <a:gd name="connsiteX0" fmla="*/ 177261 w 190500"/>
                  <a:gd name="connsiteY0" fmla="*/ 11621 h 200025"/>
                  <a:gd name="connsiteX1" fmla="*/ 99346 w 190500"/>
                  <a:gd name="connsiteY1" fmla="*/ 0 h 200025"/>
                  <a:gd name="connsiteX2" fmla="*/ 19050 w 190500"/>
                  <a:gd name="connsiteY2" fmla="*/ 12097 h 200025"/>
                  <a:gd name="connsiteX3" fmla="*/ 0 w 190500"/>
                  <a:gd name="connsiteY3" fmla="*/ 62675 h 200025"/>
                  <a:gd name="connsiteX4" fmla="*/ 0 w 190500"/>
                  <a:gd name="connsiteY4" fmla="*/ 204406 h 200025"/>
                  <a:gd name="connsiteX5" fmla="*/ 28575 w 190500"/>
                  <a:gd name="connsiteY5" fmla="*/ 204406 h 200025"/>
                  <a:gd name="connsiteX6" fmla="*/ 28575 w 190500"/>
                  <a:gd name="connsiteY6" fmla="*/ 135541 h 200025"/>
                  <a:gd name="connsiteX7" fmla="*/ 169926 w 190500"/>
                  <a:gd name="connsiteY7" fmla="*/ 135541 h 200025"/>
                  <a:gd name="connsiteX8" fmla="*/ 169926 w 190500"/>
                  <a:gd name="connsiteY8" fmla="*/ 204406 h 200025"/>
                  <a:gd name="connsiteX9" fmla="*/ 198501 w 190500"/>
                  <a:gd name="connsiteY9" fmla="*/ 204406 h 200025"/>
                  <a:gd name="connsiteX10" fmla="*/ 198501 w 190500"/>
                  <a:gd name="connsiteY10" fmla="*/ 55912 h 200025"/>
                  <a:gd name="connsiteX11" fmla="*/ 177261 w 190500"/>
                  <a:gd name="connsiteY11" fmla="*/ 11621 h 200025"/>
                  <a:gd name="connsiteX12" fmla="*/ 28099 w 190500"/>
                  <a:gd name="connsiteY12" fmla="*/ 120872 h 200025"/>
                  <a:gd name="connsiteX13" fmla="*/ 28099 w 190500"/>
                  <a:gd name="connsiteY13" fmla="*/ 62675 h 200025"/>
                  <a:gd name="connsiteX14" fmla="*/ 40196 w 190500"/>
                  <a:gd name="connsiteY14" fmla="*/ 26479 h 200025"/>
                  <a:gd name="connsiteX15" fmla="*/ 101346 w 190500"/>
                  <a:gd name="connsiteY15" fmla="*/ 19336 h 200025"/>
                  <a:gd name="connsiteX16" fmla="*/ 158496 w 190500"/>
                  <a:gd name="connsiteY16" fmla="*/ 26670 h 200025"/>
                  <a:gd name="connsiteX17" fmla="*/ 169926 w 190500"/>
                  <a:gd name="connsiteY17" fmla="*/ 62675 h 200025"/>
                  <a:gd name="connsiteX18" fmla="*/ 169926 w 190500"/>
                  <a:gd name="connsiteY18" fmla="*/ 120872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0500" h="200025">
                    <a:moveTo>
                      <a:pt x="177261" y="11621"/>
                    </a:moveTo>
                    <a:cubicBezTo>
                      <a:pt x="163545" y="3874"/>
                      <a:pt x="137573" y="0"/>
                      <a:pt x="99346" y="0"/>
                    </a:cubicBezTo>
                    <a:cubicBezTo>
                      <a:pt x="58579" y="0"/>
                      <a:pt x="31814" y="4032"/>
                      <a:pt x="19050" y="12097"/>
                    </a:cubicBezTo>
                    <a:cubicBezTo>
                      <a:pt x="6287" y="20162"/>
                      <a:pt x="-63" y="37021"/>
                      <a:pt x="0" y="62675"/>
                    </a:cubicBezTo>
                    <a:lnTo>
                      <a:pt x="0" y="204406"/>
                    </a:lnTo>
                    <a:lnTo>
                      <a:pt x="28575" y="204406"/>
                    </a:lnTo>
                    <a:lnTo>
                      <a:pt x="28575" y="135541"/>
                    </a:lnTo>
                    <a:lnTo>
                      <a:pt x="169926" y="135541"/>
                    </a:lnTo>
                    <a:lnTo>
                      <a:pt x="169926" y="204406"/>
                    </a:lnTo>
                    <a:lnTo>
                      <a:pt x="198501" y="204406"/>
                    </a:lnTo>
                    <a:lnTo>
                      <a:pt x="198501" y="55912"/>
                    </a:lnTo>
                    <a:cubicBezTo>
                      <a:pt x="198054" y="34131"/>
                      <a:pt x="190977" y="19367"/>
                      <a:pt x="177261" y="11621"/>
                    </a:cubicBezTo>
                    <a:close/>
                    <a:moveTo>
                      <a:pt x="28099" y="120872"/>
                    </a:moveTo>
                    <a:lnTo>
                      <a:pt x="28099" y="62675"/>
                    </a:lnTo>
                    <a:cubicBezTo>
                      <a:pt x="28099" y="43625"/>
                      <a:pt x="32131" y="31559"/>
                      <a:pt x="40196" y="26479"/>
                    </a:cubicBezTo>
                    <a:cubicBezTo>
                      <a:pt x="48261" y="21400"/>
                      <a:pt x="68644" y="19019"/>
                      <a:pt x="101346" y="19336"/>
                    </a:cubicBezTo>
                    <a:cubicBezTo>
                      <a:pt x="131509" y="19336"/>
                      <a:pt x="150559" y="21781"/>
                      <a:pt x="158496" y="26670"/>
                    </a:cubicBezTo>
                    <a:cubicBezTo>
                      <a:pt x="166434" y="31559"/>
                      <a:pt x="170241" y="43561"/>
                      <a:pt x="169926" y="62675"/>
                    </a:cubicBezTo>
                    <a:lnTo>
                      <a:pt x="169926" y="120872"/>
                    </a:lnTo>
                    <a:close/>
                  </a:path>
                </a:pathLst>
              </a:custGeom>
              <a:solidFill>
                <a:srgbClr val="616B7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Freihandform: Form 5">
                <a:extLst>
                  <a:ext uri="{FF2B5EF4-FFF2-40B4-BE49-F238E27FC236}">
                    <a16:creationId xmlns:a16="http://schemas.microsoft.com/office/drawing/2014/main" xmlns="" id="{36175C06-90AF-455A-9EE9-317FCF314CA1}"/>
                  </a:ext>
                </a:extLst>
              </p:cNvPr>
              <p:cNvSpPr/>
              <p:nvPr/>
            </p:nvSpPr>
            <p:spPr>
              <a:xfrm>
                <a:off x="10442235" y="990355"/>
                <a:ext cx="190500" cy="200025"/>
              </a:xfrm>
              <a:custGeom>
                <a:avLst/>
                <a:gdLst>
                  <a:gd name="connsiteX0" fmla="*/ 169261 w 190500"/>
                  <a:gd name="connsiteY0" fmla="*/ 0 h 200025"/>
                  <a:gd name="connsiteX1" fmla="*/ 197836 w 190500"/>
                  <a:gd name="connsiteY1" fmla="*/ 0 h 200025"/>
                  <a:gd name="connsiteX2" fmla="*/ 197836 w 190500"/>
                  <a:gd name="connsiteY2" fmla="*/ 141637 h 200025"/>
                  <a:gd name="connsiteX3" fmla="*/ 178786 w 190500"/>
                  <a:gd name="connsiteY3" fmla="*/ 192310 h 200025"/>
                  <a:gd name="connsiteX4" fmla="*/ 98490 w 190500"/>
                  <a:gd name="connsiteY4" fmla="*/ 204407 h 200025"/>
                  <a:gd name="connsiteX5" fmla="*/ 20576 w 190500"/>
                  <a:gd name="connsiteY5" fmla="*/ 192786 h 200025"/>
                  <a:gd name="connsiteX6" fmla="*/ 2 w 190500"/>
                  <a:gd name="connsiteY6" fmla="*/ 148495 h 200025"/>
                  <a:gd name="connsiteX7" fmla="*/ 2 w 190500"/>
                  <a:gd name="connsiteY7" fmla="*/ 0 h 200025"/>
                  <a:gd name="connsiteX8" fmla="*/ 28577 w 190500"/>
                  <a:gd name="connsiteY8" fmla="*/ 0 h 200025"/>
                  <a:gd name="connsiteX9" fmla="*/ 28577 w 190500"/>
                  <a:gd name="connsiteY9" fmla="*/ 141637 h 200025"/>
                  <a:gd name="connsiteX10" fmla="*/ 40102 w 190500"/>
                  <a:gd name="connsiteY10" fmla="*/ 177737 h 200025"/>
                  <a:gd name="connsiteX11" fmla="*/ 97252 w 190500"/>
                  <a:gd name="connsiteY11" fmla="*/ 185071 h 200025"/>
                  <a:gd name="connsiteX12" fmla="*/ 158402 w 190500"/>
                  <a:gd name="connsiteY12" fmla="*/ 177927 h 200025"/>
                  <a:gd name="connsiteX13" fmla="*/ 170499 w 190500"/>
                  <a:gd name="connsiteY13" fmla="*/ 141637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0500" h="200025">
                    <a:moveTo>
                      <a:pt x="169261" y="0"/>
                    </a:moveTo>
                    <a:lnTo>
                      <a:pt x="197836" y="0"/>
                    </a:lnTo>
                    <a:lnTo>
                      <a:pt x="197836" y="141637"/>
                    </a:lnTo>
                    <a:cubicBezTo>
                      <a:pt x="197836" y="167037"/>
                      <a:pt x="191483" y="183928"/>
                      <a:pt x="178786" y="192310"/>
                    </a:cubicBezTo>
                    <a:cubicBezTo>
                      <a:pt x="166089" y="200692"/>
                      <a:pt x="139324" y="204724"/>
                      <a:pt x="98490" y="204407"/>
                    </a:cubicBezTo>
                    <a:cubicBezTo>
                      <a:pt x="60390" y="204407"/>
                      <a:pt x="34415" y="200533"/>
                      <a:pt x="20576" y="192786"/>
                    </a:cubicBezTo>
                    <a:cubicBezTo>
                      <a:pt x="6736" y="185039"/>
                      <a:pt x="-122" y="170276"/>
                      <a:pt x="2" y="148495"/>
                    </a:cubicBezTo>
                    <a:lnTo>
                      <a:pt x="2" y="0"/>
                    </a:lnTo>
                    <a:lnTo>
                      <a:pt x="28577" y="0"/>
                    </a:lnTo>
                    <a:lnTo>
                      <a:pt x="28577" y="141637"/>
                    </a:lnTo>
                    <a:cubicBezTo>
                      <a:pt x="28577" y="160687"/>
                      <a:pt x="32415" y="172720"/>
                      <a:pt x="40102" y="177737"/>
                    </a:cubicBezTo>
                    <a:cubicBezTo>
                      <a:pt x="47789" y="182753"/>
                      <a:pt x="66839" y="185197"/>
                      <a:pt x="97252" y="185071"/>
                    </a:cubicBezTo>
                    <a:cubicBezTo>
                      <a:pt x="129951" y="185071"/>
                      <a:pt x="150335" y="182690"/>
                      <a:pt x="158402" y="177927"/>
                    </a:cubicBezTo>
                    <a:cubicBezTo>
                      <a:pt x="166470" y="173165"/>
                      <a:pt x="170499" y="161068"/>
                      <a:pt x="170499" y="141637"/>
                    </a:cubicBezTo>
                    <a:close/>
                  </a:path>
                </a:pathLst>
              </a:custGeom>
              <a:solidFill>
                <a:srgbClr val="616B7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Freihandform: Form 6">
                <a:extLst>
                  <a:ext uri="{FF2B5EF4-FFF2-40B4-BE49-F238E27FC236}">
                    <a16:creationId xmlns:a16="http://schemas.microsoft.com/office/drawing/2014/main" xmlns="" id="{8EAF6066-95EA-495F-884D-A50C1F01CD07}"/>
                  </a:ext>
                </a:extLst>
              </p:cNvPr>
              <p:cNvSpPr/>
              <p:nvPr/>
            </p:nvSpPr>
            <p:spPr>
              <a:xfrm>
                <a:off x="10674551" y="988259"/>
                <a:ext cx="180975" cy="200025"/>
              </a:xfrm>
              <a:custGeom>
                <a:avLst/>
                <a:gdLst>
                  <a:gd name="connsiteX0" fmla="*/ 184023 w 180975"/>
                  <a:gd name="connsiteY0" fmla="*/ 56959 h 200025"/>
                  <a:gd name="connsiteX1" fmla="*/ 156019 w 180975"/>
                  <a:gd name="connsiteY1" fmla="*/ 56959 h 200025"/>
                  <a:gd name="connsiteX2" fmla="*/ 145923 w 180975"/>
                  <a:gd name="connsiteY2" fmla="*/ 25908 h 200025"/>
                  <a:gd name="connsiteX3" fmla="*/ 98298 w 180975"/>
                  <a:gd name="connsiteY3" fmla="*/ 19336 h 200025"/>
                  <a:gd name="connsiteX4" fmla="*/ 41148 w 180975"/>
                  <a:gd name="connsiteY4" fmla="*/ 25622 h 200025"/>
                  <a:gd name="connsiteX5" fmla="*/ 28289 w 180975"/>
                  <a:gd name="connsiteY5" fmla="*/ 53721 h 200025"/>
                  <a:gd name="connsiteX6" fmla="*/ 38386 w 180975"/>
                  <a:gd name="connsiteY6" fmla="*/ 83534 h 200025"/>
                  <a:gd name="connsiteX7" fmla="*/ 98298 w 180975"/>
                  <a:gd name="connsiteY7" fmla="*/ 90773 h 200025"/>
                  <a:gd name="connsiteX8" fmla="*/ 172593 w 180975"/>
                  <a:gd name="connsiteY8" fmla="*/ 102775 h 200025"/>
                  <a:gd name="connsiteX9" fmla="*/ 188404 w 180975"/>
                  <a:gd name="connsiteY9" fmla="*/ 147257 h 200025"/>
                  <a:gd name="connsiteX10" fmla="*/ 170212 w 180975"/>
                  <a:gd name="connsiteY10" fmla="*/ 195548 h 200025"/>
                  <a:gd name="connsiteX11" fmla="*/ 89725 w 180975"/>
                  <a:gd name="connsiteY11" fmla="*/ 206502 h 200025"/>
                  <a:gd name="connsiteX12" fmla="*/ 17907 w 180975"/>
                  <a:gd name="connsiteY12" fmla="*/ 195453 h 200025"/>
                  <a:gd name="connsiteX13" fmla="*/ 0 w 180975"/>
                  <a:gd name="connsiteY13" fmla="*/ 150876 h 200025"/>
                  <a:gd name="connsiteX14" fmla="*/ 0 w 180975"/>
                  <a:gd name="connsiteY14" fmla="*/ 141827 h 200025"/>
                  <a:gd name="connsiteX15" fmla="*/ 28004 w 180975"/>
                  <a:gd name="connsiteY15" fmla="*/ 141827 h 200025"/>
                  <a:gd name="connsiteX16" fmla="*/ 28004 w 180975"/>
                  <a:gd name="connsiteY16" fmla="*/ 146876 h 200025"/>
                  <a:gd name="connsiteX17" fmla="*/ 38291 w 180975"/>
                  <a:gd name="connsiteY17" fmla="*/ 180594 h 200025"/>
                  <a:gd name="connsiteX18" fmla="*/ 90868 w 180975"/>
                  <a:gd name="connsiteY18" fmla="*/ 187166 h 200025"/>
                  <a:gd name="connsiteX19" fmla="*/ 150590 w 180975"/>
                  <a:gd name="connsiteY19" fmla="*/ 180594 h 200025"/>
                  <a:gd name="connsiteX20" fmla="*/ 161734 w 180975"/>
                  <a:gd name="connsiteY20" fmla="*/ 145352 h 200025"/>
                  <a:gd name="connsiteX21" fmla="*/ 154114 w 180975"/>
                  <a:gd name="connsiteY21" fmla="*/ 120682 h 200025"/>
                  <a:gd name="connsiteX22" fmla="*/ 122396 w 180975"/>
                  <a:gd name="connsiteY22" fmla="*/ 113348 h 200025"/>
                  <a:gd name="connsiteX23" fmla="*/ 93059 w 180975"/>
                  <a:gd name="connsiteY23" fmla="*/ 112205 h 200025"/>
                  <a:gd name="connsiteX24" fmla="*/ 65246 w 180975"/>
                  <a:gd name="connsiteY24" fmla="*/ 111062 h 200025"/>
                  <a:gd name="connsiteX25" fmla="*/ 1905 w 180975"/>
                  <a:gd name="connsiteY25" fmla="*/ 57626 h 200025"/>
                  <a:gd name="connsiteX26" fmla="*/ 20383 w 180975"/>
                  <a:gd name="connsiteY26" fmla="*/ 11525 h 200025"/>
                  <a:gd name="connsiteX27" fmla="*/ 94202 w 180975"/>
                  <a:gd name="connsiteY27" fmla="*/ 0 h 200025"/>
                  <a:gd name="connsiteX28" fmla="*/ 167259 w 180975"/>
                  <a:gd name="connsiteY28" fmla="*/ 10763 h 200025"/>
                  <a:gd name="connsiteX29" fmla="*/ 184023 w 180975"/>
                  <a:gd name="connsiteY29" fmla="*/ 56959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80975" h="200025">
                    <a:moveTo>
                      <a:pt x="184023" y="56959"/>
                    </a:moveTo>
                    <a:lnTo>
                      <a:pt x="156019" y="56959"/>
                    </a:lnTo>
                    <a:cubicBezTo>
                      <a:pt x="156019" y="40640"/>
                      <a:pt x="152657" y="30290"/>
                      <a:pt x="145923" y="25908"/>
                    </a:cubicBezTo>
                    <a:cubicBezTo>
                      <a:pt x="139189" y="21527"/>
                      <a:pt x="123320" y="19336"/>
                      <a:pt x="98298" y="19336"/>
                    </a:cubicBezTo>
                    <a:cubicBezTo>
                      <a:pt x="68771" y="19336"/>
                      <a:pt x="49721" y="21431"/>
                      <a:pt x="41148" y="25622"/>
                    </a:cubicBezTo>
                    <a:cubicBezTo>
                      <a:pt x="32575" y="29813"/>
                      <a:pt x="28289" y="39179"/>
                      <a:pt x="28289" y="53721"/>
                    </a:cubicBezTo>
                    <a:cubicBezTo>
                      <a:pt x="28289" y="70040"/>
                      <a:pt x="31652" y="79979"/>
                      <a:pt x="38386" y="83534"/>
                    </a:cubicBezTo>
                    <a:cubicBezTo>
                      <a:pt x="45120" y="87090"/>
                      <a:pt x="65084" y="89504"/>
                      <a:pt x="98298" y="90773"/>
                    </a:cubicBezTo>
                    <a:cubicBezTo>
                      <a:pt x="137227" y="92171"/>
                      <a:pt x="161992" y="96171"/>
                      <a:pt x="172593" y="102775"/>
                    </a:cubicBezTo>
                    <a:cubicBezTo>
                      <a:pt x="183194" y="109378"/>
                      <a:pt x="188471" y="124206"/>
                      <a:pt x="188404" y="147257"/>
                    </a:cubicBezTo>
                    <a:cubicBezTo>
                      <a:pt x="188404" y="172148"/>
                      <a:pt x="182337" y="188245"/>
                      <a:pt x="170212" y="195548"/>
                    </a:cubicBezTo>
                    <a:cubicBezTo>
                      <a:pt x="158086" y="202851"/>
                      <a:pt x="131254" y="206502"/>
                      <a:pt x="89725" y="206502"/>
                    </a:cubicBezTo>
                    <a:cubicBezTo>
                      <a:pt x="53721" y="206502"/>
                      <a:pt x="29785" y="202819"/>
                      <a:pt x="17907" y="195453"/>
                    </a:cubicBezTo>
                    <a:cubicBezTo>
                      <a:pt x="6029" y="188087"/>
                      <a:pt x="67" y="173228"/>
                      <a:pt x="0" y="150876"/>
                    </a:cubicBezTo>
                    <a:lnTo>
                      <a:pt x="0" y="141827"/>
                    </a:lnTo>
                    <a:lnTo>
                      <a:pt x="28004" y="141827"/>
                    </a:lnTo>
                    <a:lnTo>
                      <a:pt x="28004" y="146876"/>
                    </a:lnTo>
                    <a:cubicBezTo>
                      <a:pt x="28004" y="164973"/>
                      <a:pt x="31433" y="176213"/>
                      <a:pt x="38291" y="180594"/>
                    </a:cubicBezTo>
                    <a:cubicBezTo>
                      <a:pt x="45148" y="184976"/>
                      <a:pt x="62675" y="187166"/>
                      <a:pt x="90868" y="187166"/>
                    </a:cubicBezTo>
                    <a:cubicBezTo>
                      <a:pt x="123187" y="187166"/>
                      <a:pt x="143094" y="184976"/>
                      <a:pt x="150590" y="180594"/>
                    </a:cubicBezTo>
                    <a:cubicBezTo>
                      <a:pt x="158086" y="176213"/>
                      <a:pt x="161801" y="164465"/>
                      <a:pt x="161734" y="145352"/>
                    </a:cubicBezTo>
                    <a:cubicBezTo>
                      <a:pt x="162906" y="136411"/>
                      <a:pt x="160125" y="127403"/>
                      <a:pt x="154114" y="120682"/>
                    </a:cubicBezTo>
                    <a:cubicBezTo>
                      <a:pt x="144428" y="115347"/>
                      <a:pt x="133445" y="112807"/>
                      <a:pt x="122396" y="113348"/>
                    </a:cubicBezTo>
                    <a:lnTo>
                      <a:pt x="93059" y="112205"/>
                    </a:lnTo>
                    <a:lnTo>
                      <a:pt x="65246" y="111062"/>
                    </a:lnTo>
                    <a:cubicBezTo>
                      <a:pt x="23022" y="108585"/>
                      <a:pt x="1905" y="90773"/>
                      <a:pt x="1905" y="57626"/>
                    </a:cubicBezTo>
                    <a:cubicBezTo>
                      <a:pt x="1905" y="34576"/>
                      <a:pt x="8068" y="19209"/>
                      <a:pt x="20383" y="11525"/>
                    </a:cubicBezTo>
                    <a:cubicBezTo>
                      <a:pt x="32699" y="3841"/>
                      <a:pt x="57312" y="0"/>
                      <a:pt x="94202" y="0"/>
                    </a:cubicBezTo>
                    <a:cubicBezTo>
                      <a:pt x="131607" y="0"/>
                      <a:pt x="155953" y="3588"/>
                      <a:pt x="167259" y="10763"/>
                    </a:cubicBezTo>
                    <a:cubicBezTo>
                      <a:pt x="178565" y="17938"/>
                      <a:pt x="184147" y="33338"/>
                      <a:pt x="184023" y="56959"/>
                    </a:cubicBezTo>
                    <a:close/>
                  </a:path>
                </a:pathLst>
              </a:custGeom>
              <a:solidFill>
                <a:srgbClr val="616B7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" name="Freihandform: Form 7">
                <a:extLst>
                  <a:ext uri="{FF2B5EF4-FFF2-40B4-BE49-F238E27FC236}">
                    <a16:creationId xmlns:a16="http://schemas.microsoft.com/office/drawing/2014/main" xmlns="" id="{8125ED1F-7807-4B5D-8D67-057315FEB019}"/>
                  </a:ext>
                </a:extLst>
              </p:cNvPr>
              <p:cNvSpPr/>
              <p:nvPr/>
            </p:nvSpPr>
            <p:spPr>
              <a:xfrm>
                <a:off x="10889626" y="990355"/>
                <a:ext cx="190500" cy="200025"/>
              </a:xfrm>
              <a:custGeom>
                <a:avLst/>
                <a:gdLst>
                  <a:gd name="connsiteX0" fmla="*/ 110109 w 190500"/>
                  <a:gd name="connsiteY0" fmla="*/ 21146 h 200025"/>
                  <a:gd name="connsiteX1" fmla="*/ 110109 w 190500"/>
                  <a:gd name="connsiteY1" fmla="*/ 202120 h 200025"/>
                  <a:gd name="connsiteX2" fmla="*/ 81534 w 190500"/>
                  <a:gd name="connsiteY2" fmla="*/ 202120 h 200025"/>
                  <a:gd name="connsiteX3" fmla="*/ 81534 w 190500"/>
                  <a:gd name="connsiteY3" fmla="*/ 21146 h 200025"/>
                  <a:gd name="connsiteX4" fmla="*/ 0 w 190500"/>
                  <a:gd name="connsiteY4" fmla="*/ 21146 h 200025"/>
                  <a:gd name="connsiteX5" fmla="*/ 0 w 190500"/>
                  <a:gd name="connsiteY5" fmla="*/ 0 h 200025"/>
                  <a:gd name="connsiteX6" fmla="*/ 190500 w 190500"/>
                  <a:gd name="connsiteY6" fmla="*/ 0 h 200025"/>
                  <a:gd name="connsiteX7" fmla="*/ 190500 w 190500"/>
                  <a:gd name="connsiteY7" fmla="*/ 21241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0500" h="200025">
                    <a:moveTo>
                      <a:pt x="110109" y="21146"/>
                    </a:moveTo>
                    <a:lnTo>
                      <a:pt x="110109" y="202120"/>
                    </a:lnTo>
                    <a:lnTo>
                      <a:pt x="81534" y="202120"/>
                    </a:lnTo>
                    <a:lnTo>
                      <a:pt x="81534" y="21146"/>
                    </a:lnTo>
                    <a:lnTo>
                      <a:pt x="0" y="21146"/>
                    </a:lnTo>
                    <a:lnTo>
                      <a:pt x="0" y="0"/>
                    </a:lnTo>
                    <a:lnTo>
                      <a:pt x="190500" y="0"/>
                    </a:lnTo>
                    <a:lnTo>
                      <a:pt x="190500" y="21241"/>
                    </a:lnTo>
                    <a:close/>
                  </a:path>
                </a:pathLst>
              </a:custGeom>
              <a:solidFill>
                <a:srgbClr val="616B7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7" name="Freihandform: Form 8">
                <a:extLst>
                  <a:ext uri="{FF2B5EF4-FFF2-40B4-BE49-F238E27FC236}">
                    <a16:creationId xmlns:a16="http://schemas.microsoft.com/office/drawing/2014/main" xmlns="" id="{9A3DADEB-EA6F-4603-9E2E-18E419B4CAF4}"/>
                  </a:ext>
                </a:extLst>
              </p:cNvPr>
              <p:cNvSpPr/>
              <p:nvPr/>
            </p:nvSpPr>
            <p:spPr>
              <a:xfrm>
                <a:off x="11117464" y="990355"/>
                <a:ext cx="190500" cy="200025"/>
              </a:xfrm>
              <a:custGeom>
                <a:avLst/>
                <a:gdLst>
                  <a:gd name="connsiteX0" fmla="*/ 0 w 190500"/>
                  <a:gd name="connsiteY0" fmla="*/ 202311 h 200025"/>
                  <a:gd name="connsiteX1" fmla="*/ 0 w 190500"/>
                  <a:gd name="connsiteY1" fmla="*/ 0 h 200025"/>
                  <a:gd name="connsiteX2" fmla="*/ 119063 w 190500"/>
                  <a:gd name="connsiteY2" fmla="*/ 0 h 200025"/>
                  <a:gd name="connsiteX3" fmla="*/ 176213 w 190500"/>
                  <a:gd name="connsiteY3" fmla="*/ 12954 h 200025"/>
                  <a:gd name="connsiteX4" fmla="*/ 192691 w 190500"/>
                  <a:gd name="connsiteY4" fmla="*/ 57722 h 200025"/>
                  <a:gd name="connsiteX5" fmla="*/ 183166 w 190500"/>
                  <a:gd name="connsiteY5" fmla="*/ 99155 h 200025"/>
                  <a:gd name="connsiteX6" fmla="*/ 147447 w 190500"/>
                  <a:gd name="connsiteY6" fmla="*/ 119348 h 200025"/>
                  <a:gd name="connsiteX7" fmla="*/ 195072 w 190500"/>
                  <a:gd name="connsiteY7" fmla="*/ 202406 h 200025"/>
                  <a:gd name="connsiteX8" fmla="*/ 166497 w 190500"/>
                  <a:gd name="connsiteY8" fmla="*/ 202406 h 200025"/>
                  <a:gd name="connsiteX9" fmla="*/ 117538 w 190500"/>
                  <a:gd name="connsiteY9" fmla="*/ 120396 h 200025"/>
                  <a:gd name="connsiteX10" fmla="*/ 28575 w 190500"/>
                  <a:gd name="connsiteY10" fmla="*/ 120396 h 200025"/>
                  <a:gd name="connsiteX11" fmla="*/ 28575 w 190500"/>
                  <a:gd name="connsiteY11" fmla="*/ 202406 h 200025"/>
                  <a:gd name="connsiteX12" fmla="*/ 28575 w 190500"/>
                  <a:gd name="connsiteY12" fmla="*/ 101060 h 200025"/>
                  <a:gd name="connsiteX13" fmla="*/ 110109 w 190500"/>
                  <a:gd name="connsiteY13" fmla="*/ 101060 h 200025"/>
                  <a:gd name="connsiteX14" fmla="*/ 154114 w 190500"/>
                  <a:gd name="connsiteY14" fmla="*/ 93155 h 200025"/>
                  <a:gd name="connsiteX15" fmla="*/ 165830 w 190500"/>
                  <a:gd name="connsiteY15" fmla="*/ 63341 h 200025"/>
                  <a:gd name="connsiteX16" fmla="*/ 157163 w 190500"/>
                  <a:gd name="connsiteY16" fmla="*/ 27623 h 200025"/>
                  <a:gd name="connsiteX17" fmla="*/ 119348 w 190500"/>
                  <a:gd name="connsiteY17" fmla="*/ 19526 h 200025"/>
                  <a:gd name="connsiteX18" fmla="*/ 28194 w 190500"/>
                  <a:gd name="connsiteY18" fmla="*/ 19526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0500" h="200025">
                    <a:moveTo>
                      <a:pt x="0" y="202311"/>
                    </a:moveTo>
                    <a:lnTo>
                      <a:pt x="0" y="0"/>
                    </a:lnTo>
                    <a:lnTo>
                      <a:pt x="119063" y="0"/>
                    </a:lnTo>
                    <a:cubicBezTo>
                      <a:pt x="145923" y="0"/>
                      <a:pt x="164973" y="4318"/>
                      <a:pt x="176213" y="12954"/>
                    </a:cubicBezTo>
                    <a:cubicBezTo>
                      <a:pt x="187452" y="21590"/>
                      <a:pt x="192948" y="36512"/>
                      <a:pt x="192691" y="57722"/>
                    </a:cubicBezTo>
                    <a:cubicBezTo>
                      <a:pt x="193129" y="72122"/>
                      <a:pt x="189852" y="86394"/>
                      <a:pt x="183166" y="99155"/>
                    </a:cubicBezTo>
                    <a:cubicBezTo>
                      <a:pt x="173955" y="109818"/>
                      <a:pt x="161334" y="116955"/>
                      <a:pt x="147447" y="119348"/>
                    </a:cubicBezTo>
                    <a:lnTo>
                      <a:pt x="195072" y="202406"/>
                    </a:lnTo>
                    <a:lnTo>
                      <a:pt x="166497" y="202406"/>
                    </a:lnTo>
                    <a:lnTo>
                      <a:pt x="117538" y="120396"/>
                    </a:lnTo>
                    <a:lnTo>
                      <a:pt x="28575" y="120396"/>
                    </a:lnTo>
                    <a:lnTo>
                      <a:pt x="28575" y="202406"/>
                    </a:lnTo>
                    <a:close/>
                    <a:moveTo>
                      <a:pt x="28575" y="101060"/>
                    </a:moveTo>
                    <a:lnTo>
                      <a:pt x="110109" y="101060"/>
                    </a:lnTo>
                    <a:cubicBezTo>
                      <a:pt x="131569" y="101060"/>
                      <a:pt x="146237" y="98425"/>
                      <a:pt x="154114" y="93155"/>
                    </a:cubicBezTo>
                    <a:cubicBezTo>
                      <a:pt x="162811" y="85835"/>
                      <a:pt x="167211" y="74620"/>
                      <a:pt x="165830" y="63341"/>
                    </a:cubicBezTo>
                    <a:cubicBezTo>
                      <a:pt x="165830" y="45053"/>
                      <a:pt x="162944" y="33147"/>
                      <a:pt x="157163" y="27623"/>
                    </a:cubicBezTo>
                    <a:cubicBezTo>
                      <a:pt x="151381" y="22098"/>
                      <a:pt x="138779" y="19400"/>
                      <a:pt x="119348" y="19526"/>
                    </a:cubicBezTo>
                    <a:lnTo>
                      <a:pt x="28194" y="19526"/>
                    </a:lnTo>
                    <a:close/>
                  </a:path>
                </a:pathLst>
              </a:custGeom>
              <a:solidFill>
                <a:srgbClr val="616B7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" name="Freihandform: Form 9">
                <a:extLst>
                  <a:ext uri="{FF2B5EF4-FFF2-40B4-BE49-F238E27FC236}">
                    <a16:creationId xmlns:a16="http://schemas.microsoft.com/office/drawing/2014/main" xmlns="" id="{20956175-B896-49C5-87F0-D567B28D2A78}"/>
                  </a:ext>
                </a:extLst>
              </p:cNvPr>
              <p:cNvSpPr/>
              <p:nvPr/>
            </p:nvSpPr>
            <p:spPr>
              <a:xfrm>
                <a:off x="11364542" y="990355"/>
                <a:ext cx="28575" cy="200025"/>
              </a:xfrm>
              <a:custGeom>
                <a:avLst/>
                <a:gdLst>
                  <a:gd name="connsiteX0" fmla="*/ 28575 w 28575"/>
                  <a:gd name="connsiteY0" fmla="*/ 0 h 200025"/>
                  <a:gd name="connsiteX1" fmla="*/ 28575 w 28575"/>
                  <a:gd name="connsiteY1" fmla="*/ 202311 h 200025"/>
                  <a:gd name="connsiteX2" fmla="*/ 0 w 28575"/>
                  <a:gd name="connsiteY2" fmla="*/ 202311 h 200025"/>
                  <a:gd name="connsiteX3" fmla="*/ 0 w 28575"/>
                  <a:gd name="connsiteY3" fmla="*/ 0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200025">
                    <a:moveTo>
                      <a:pt x="28575" y="0"/>
                    </a:moveTo>
                    <a:lnTo>
                      <a:pt x="28575" y="202311"/>
                    </a:lnTo>
                    <a:lnTo>
                      <a:pt x="0" y="2023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16B7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9" name="Freihandform: Form 10">
                <a:extLst>
                  <a:ext uri="{FF2B5EF4-FFF2-40B4-BE49-F238E27FC236}">
                    <a16:creationId xmlns:a16="http://schemas.microsoft.com/office/drawing/2014/main" xmlns="" id="{2F7558C3-D00A-4E66-A2F7-2EE2CE61AC78}"/>
                  </a:ext>
                </a:extLst>
              </p:cNvPr>
              <p:cNvSpPr/>
              <p:nvPr/>
            </p:nvSpPr>
            <p:spPr>
              <a:xfrm>
                <a:off x="11710395" y="990355"/>
                <a:ext cx="209550" cy="200025"/>
              </a:xfrm>
              <a:custGeom>
                <a:avLst/>
                <a:gdLst>
                  <a:gd name="connsiteX0" fmla="*/ 213836 w 209550"/>
                  <a:gd name="connsiteY0" fmla="*/ 0 h 200025"/>
                  <a:gd name="connsiteX1" fmla="*/ 213836 w 209550"/>
                  <a:gd name="connsiteY1" fmla="*/ 202311 h 200025"/>
                  <a:gd name="connsiteX2" fmla="*/ 167450 w 209550"/>
                  <a:gd name="connsiteY2" fmla="*/ 202311 h 200025"/>
                  <a:gd name="connsiteX3" fmla="*/ 62675 w 209550"/>
                  <a:gd name="connsiteY3" fmla="*/ 64579 h 200025"/>
                  <a:gd name="connsiteX4" fmla="*/ 45625 w 209550"/>
                  <a:gd name="connsiteY4" fmla="*/ 41910 h 200025"/>
                  <a:gd name="connsiteX5" fmla="*/ 37243 w 209550"/>
                  <a:gd name="connsiteY5" fmla="*/ 30671 h 200025"/>
                  <a:gd name="connsiteX6" fmla="*/ 29337 w 209550"/>
                  <a:gd name="connsiteY6" fmla="*/ 19526 h 200025"/>
                  <a:gd name="connsiteX7" fmla="*/ 28575 w 209550"/>
                  <a:gd name="connsiteY7" fmla="*/ 19526 h 200025"/>
                  <a:gd name="connsiteX8" fmla="*/ 28575 w 209550"/>
                  <a:gd name="connsiteY8" fmla="*/ 27051 h 200025"/>
                  <a:gd name="connsiteX9" fmla="*/ 28575 w 209550"/>
                  <a:gd name="connsiteY9" fmla="*/ 34766 h 200025"/>
                  <a:gd name="connsiteX10" fmla="*/ 28575 w 209550"/>
                  <a:gd name="connsiteY10" fmla="*/ 202406 h 200025"/>
                  <a:gd name="connsiteX11" fmla="*/ 0 w 209550"/>
                  <a:gd name="connsiteY11" fmla="*/ 202406 h 200025"/>
                  <a:gd name="connsiteX12" fmla="*/ 0 w 209550"/>
                  <a:gd name="connsiteY12" fmla="*/ 0 h 200025"/>
                  <a:gd name="connsiteX13" fmla="*/ 46101 w 209550"/>
                  <a:gd name="connsiteY13" fmla="*/ 0 h 200025"/>
                  <a:gd name="connsiteX14" fmla="*/ 137541 w 209550"/>
                  <a:gd name="connsiteY14" fmla="*/ 120682 h 200025"/>
                  <a:gd name="connsiteX15" fmla="*/ 161353 w 209550"/>
                  <a:gd name="connsiteY15" fmla="*/ 152400 h 200025"/>
                  <a:gd name="connsiteX16" fmla="*/ 173260 w 209550"/>
                  <a:gd name="connsiteY16" fmla="*/ 168116 h 200025"/>
                  <a:gd name="connsiteX17" fmla="*/ 184975 w 209550"/>
                  <a:gd name="connsiteY17" fmla="*/ 184023 h 200025"/>
                  <a:gd name="connsiteX18" fmla="*/ 185737 w 209550"/>
                  <a:gd name="connsiteY18" fmla="*/ 184023 h 200025"/>
                  <a:gd name="connsiteX19" fmla="*/ 185737 w 209550"/>
                  <a:gd name="connsiteY19" fmla="*/ 176498 h 200025"/>
                  <a:gd name="connsiteX20" fmla="*/ 185737 w 209550"/>
                  <a:gd name="connsiteY20" fmla="*/ 168783 h 200025"/>
                  <a:gd name="connsiteX21" fmla="*/ 185737 w 209550"/>
                  <a:gd name="connsiteY21" fmla="*/ 0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9550" h="200025">
                    <a:moveTo>
                      <a:pt x="213836" y="0"/>
                    </a:moveTo>
                    <a:lnTo>
                      <a:pt x="213836" y="202311"/>
                    </a:lnTo>
                    <a:lnTo>
                      <a:pt x="167450" y="202311"/>
                    </a:lnTo>
                    <a:lnTo>
                      <a:pt x="62675" y="64579"/>
                    </a:lnTo>
                    <a:lnTo>
                      <a:pt x="45625" y="41910"/>
                    </a:lnTo>
                    <a:lnTo>
                      <a:pt x="37243" y="30671"/>
                    </a:lnTo>
                    <a:lnTo>
                      <a:pt x="29337" y="19526"/>
                    </a:lnTo>
                    <a:lnTo>
                      <a:pt x="28575" y="19526"/>
                    </a:lnTo>
                    <a:lnTo>
                      <a:pt x="28575" y="27051"/>
                    </a:lnTo>
                    <a:lnTo>
                      <a:pt x="28575" y="34766"/>
                    </a:lnTo>
                    <a:lnTo>
                      <a:pt x="28575" y="202406"/>
                    </a:lnTo>
                    <a:lnTo>
                      <a:pt x="0" y="202406"/>
                    </a:lnTo>
                    <a:lnTo>
                      <a:pt x="0" y="0"/>
                    </a:lnTo>
                    <a:lnTo>
                      <a:pt x="46101" y="0"/>
                    </a:lnTo>
                    <a:lnTo>
                      <a:pt x="137541" y="120682"/>
                    </a:lnTo>
                    <a:lnTo>
                      <a:pt x="161353" y="152400"/>
                    </a:lnTo>
                    <a:lnTo>
                      <a:pt x="173260" y="168116"/>
                    </a:lnTo>
                    <a:lnTo>
                      <a:pt x="184975" y="184023"/>
                    </a:lnTo>
                    <a:lnTo>
                      <a:pt x="185737" y="184023"/>
                    </a:lnTo>
                    <a:lnTo>
                      <a:pt x="185737" y="176498"/>
                    </a:lnTo>
                    <a:lnTo>
                      <a:pt x="185737" y="168783"/>
                    </a:lnTo>
                    <a:lnTo>
                      <a:pt x="185737" y="0"/>
                    </a:lnTo>
                    <a:close/>
                  </a:path>
                </a:pathLst>
              </a:custGeom>
              <a:solidFill>
                <a:srgbClr val="616B7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" name="Freihandform: Form 11">
                <a:extLst>
                  <a:ext uri="{FF2B5EF4-FFF2-40B4-BE49-F238E27FC236}">
                    <a16:creationId xmlns:a16="http://schemas.microsoft.com/office/drawing/2014/main" xmlns="" id="{49F70560-6B21-48DC-B3B1-4ED7B4A8946A}"/>
                  </a:ext>
                </a:extLst>
              </p:cNvPr>
              <p:cNvSpPr/>
              <p:nvPr/>
            </p:nvSpPr>
            <p:spPr>
              <a:xfrm>
                <a:off x="11455981" y="988069"/>
                <a:ext cx="190500" cy="200025"/>
              </a:xfrm>
              <a:custGeom>
                <a:avLst/>
                <a:gdLst>
                  <a:gd name="connsiteX0" fmla="*/ 177261 w 190500"/>
                  <a:gd name="connsiteY0" fmla="*/ 11621 h 200025"/>
                  <a:gd name="connsiteX1" fmla="*/ 99346 w 190500"/>
                  <a:gd name="connsiteY1" fmla="*/ 0 h 200025"/>
                  <a:gd name="connsiteX2" fmla="*/ 19051 w 190500"/>
                  <a:gd name="connsiteY2" fmla="*/ 12097 h 200025"/>
                  <a:gd name="connsiteX3" fmla="*/ 1 w 190500"/>
                  <a:gd name="connsiteY3" fmla="*/ 62675 h 200025"/>
                  <a:gd name="connsiteX4" fmla="*/ 1 w 190500"/>
                  <a:gd name="connsiteY4" fmla="*/ 204406 h 200025"/>
                  <a:gd name="connsiteX5" fmla="*/ 28576 w 190500"/>
                  <a:gd name="connsiteY5" fmla="*/ 204406 h 200025"/>
                  <a:gd name="connsiteX6" fmla="*/ 28576 w 190500"/>
                  <a:gd name="connsiteY6" fmla="*/ 135541 h 200025"/>
                  <a:gd name="connsiteX7" fmla="*/ 170117 w 190500"/>
                  <a:gd name="connsiteY7" fmla="*/ 135541 h 200025"/>
                  <a:gd name="connsiteX8" fmla="*/ 170117 w 190500"/>
                  <a:gd name="connsiteY8" fmla="*/ 204406 h 200025"/>
                  <a:gd name="connsiteX9" fmla="*/ 198692 w 190500"/>
                  <a:gd name="connsiteY9" fmla="*/ 204406 h 200025"/>
                  <a:gd name="connsiteX10" fmla="*/ 198692 w 190500"/>
                  <a:gd name="connsiteY10" fmla="*/ 55912 h 200025"/>
                  <a:gd name="connsiteX11" fmla="*/ 177261 w 190500"/>
                  <a:gd name="connsiteY11" fmla="*/ 11621 h 200025"/>
                  <a:gd name="connsiteX12" fmla="*/ 28099 w 190500"/>
                  <a:gd name="connsiteY12" fmla="*/ 120872 h 200025"/>
                  <a:gd name="connsiteX13" fmla="*/ 28099 w 190500"/>
                  <a:gd name="connsiteY13" fmla="*/ 62675 h 200025"/>
                  <a:gd name="connsiteX14" fmla="*/ 40196 w 190500"/>
                  <a:gd name="connsiteY14" fmla="*/ 26479 h 200025"/>
                  <a:gd name="connsiteX15" fmla="*/ 101347 w 190500"/>
                  <a:gd name="connsiteY15" fmla="*/ 19336 h 200025"/>
                  <a:gd name="connsiteX16" fmla="*/ 158497 w 190500"/>
                  <a:gd name="connsiteY16" fmla="*/ 26670 h 200025"/>
                  <a:gd name="connsiteX17" fmla="*/ 170022 w 190500"/>
                  <a:gd name="connsiteY17" fmla="*/ 62770 h 200025"/>
                  <a:gd name="connsiteX18" fmla="*/ 170022 w 190500"/>
                  <a:gd name="connsiteY18" fmla="*/ 120872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0500" h="200025">
                    <a:moveTo>
                      <a:pt x="177261" y="11621"/>
                    </a:moveTo>
                    <a:cubicBezTo>
                      <a:pt x="163545" y="3874"/>
                      <a:pt x="137570" y="0"/>
                      <a:pt x="99346" y="0"/>
                    </a:cubicBezTo>
                    <a:cubicBezTo>
                      <a:pt x="58579" y="0"/>
                      <a:pt x="31814" y="4032"/>
                      <a:pt x="19051" y="12097"/>
                    </a:cubicBezTo>
                    <a:cubicBezTo>
                      <a:pt x="6287" y="20162"/>
                      <a:pt x="-66" y="37021"/>
                      <a:pt x="1" y="62675"/>
                    </a:cubicBezTo>
                    <a:lnTo>
                      <a:pt x="1" y="204406"/>
                    </a:lnTo>
                    <a:lnTo>
                      <a:pt x="28576" y="204406"/>
                    </a:lnTo>
                    <a:lnTo>
                      <a:pt x="28576" y="135541"/>
                    </a:lnTo>
                    <a:lnTo>
                      <a:pt x="170117" y="135541"/>
                    </a:lnTo>
                    <a:lnTo>
                      <a:pt x="170117" y="204406"/>
                    </a:lnTo>
                    <a:lnTo>
                      <a:pt x="198692" y="204406"/>
                    </a:lnTo>
                    <a:lnTo>
                      <a:pt x="198692" y="55912"/>
                    </a:lnTo>
                    <a:cubicBezTo>
                      <a:pt x="198121" y="34131"/>
                      <a:pt x="190977" y="19367"/>
                      <a:pt x="177261" y="11621"/>
                    </a:cubicBezTo>
                    <a:close/>
                    <a:moveTo>
                      <a:pt x="28099" y="120872"/>
                    </a:moveTo>
                    <a:lnTo>
                      <a:pt x="28099" y="62675"/>
                    </a:lnTo>
                    <a:cubicBezTo>
                      <a:pt x="28099" y="43625"/>
                      <a:pt x="32128" y="31559"/>
                      <a:pt x="40196" y="26479"/>
                    </a:cubicBezTo>
                    <a:cubicBezTo>
                      <a:pt x="48264" y="21400"/>
                      <a:pt x="68647" y="19019"/>
                      <a:pt x="101347" y="19336"/>
                    </a:cubicBezTo>
                    <a:cubicBezTo>
                      <a:pt x="131512" y="19336"/>
                      <a:pt x="150562" y="21781"/>
                      <a:pt x="158497" y="26670"/>
                    </a:cubicBezTo>
                    <a:cubicBezTo>
                      <a:pt x="166431" y="31559"/>
                      <a:pt x="170279" y="43593"/>
                      <a:pt x="170022" y="62770"/>
                    </a:cubicBezTo>
                    <a:lnTo>
                      <a:pt x="170022" y="120872"/>
                    </a:lnTo>
                    <a:close/>
                  </a:path>
                </a:pathLst>
              </a:custGeom>
              <a:solidFill>
                <a:srgbClr val="616B7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Freihandform: Form 16">
                <a:extLst>
                  <a:ext uri="{FF2B5EF4-FFF2-40B4-BE49-F238E27FC236}">
                    <a16:creationId xmlns:a16="http://schemas.microsoft.com/office/drawing/2014/main" xmlns="" id="{FB9E3414-7D4F-4441-972E-44AA876D768A}"/>
                  </a:ext>
                </a:extLst>
              </p:cNvPr>
              <p:cNvSpPr/>
              <p:nvPr/>
            </p:nvSpPr>
            <p:spPr>
              <a:xfrm>
                <a:off x="10194015" y="1254388"/>
                <a:ext cx="161925" cy="171450"/>
              </a:xfrm>
              <a:custGeom>
                <a:avLst/>
                <a:gdLst>
                  <a:gd name="connsiteX0" fmla="*/ 81344 w 161925"/>
                  <a:gd name="connsiteY0" fmla="*/ 0 h 171450"/>
                  <a:gd name="connsiteX1" fmla="*/ 18955 w 161925"/>
                  <a:gd name="connsiteY1" fmla="*/ 10192 h 171450"/>
                  <a:gd name="connsiteX2" fmla="*/ 1429 w 161925"/>
                  <a:gd name="connsiteY2" fmla="*/ 52007 h 171450"/>
                  <a:gd name="connsiteX3" fmla="*/ 57912 w 161925"/>
                  <a:gd name="connsiteY3" fmla="*/ 100489 h 171450"/>
                  <a:gd name="connsiteX4" fmla="*/ 80391 w 161925"/>
                  <a:gd name="connsiteY4" fmla="*/ 101441 h 171450"/>
                  <a:gd name="connsiteX5" fmla="*/ 104013 w 161925"/>
                  <a:gd name="connsiteY5" fmla="*/ 102394 h 171450"/>
                  <a:gd name="connsiteX6" fmla="*/ 126397 w 161925"/>
                  <a:gd name="connsiteY6" fmla="*/ 107061 h 171450"/>
                  <a:gd name="connsiteX7" fmla="*/ 130016 w 161925"/>
                  <a:gd name="connsiteY7" fmla="*/ 122682 h 171450"/>
                  <a:gd name="connsiteX8" fmla="*/ 123730 w 161925"/>
                  <a:gd name="connsiteY8" fmla="*/ 146304 h 171450"/>
                  <a:gd name="connsiteX9" fmla="*/ 78391 w 161925"/>
                  <a:gd name="connsiteY9" fmla="*/ 150876 h 171450"/>
                  <a:gd name="connsiteX10" fmla="*/ 39052 w 161925"/>
                  <a:gd name="connsiteY10" fmla="*/ 146399 h 171450"/>
                  <a:gd name="connsiteX11" fmla="*/ 33338 w 161925"/>
                  <a:gd name="connsiteY11" fmla="*/ 123825 h 171450"/>
                  <a:gd name="connsiteX12" fmla="*/ 33338 w 161925"/>
                  <a:gd name="connsiteY12" fmla="*/ 114300 h 171450"/>
                  <a:gd name="connsiteX13" fmla="*/ 0 w 161925"/>
                  <a:gd name="connsiteY13" fmla="*/ 114300 h 171450"/>
                  <a:gd name="connsiteX14" fmla="*/ 0 w 161925"/>
                  <a:gd name="connsiteY14" fmla="*/ 119920 h 171450"/>
                  <a:gd name="connsiteX15" fmla="*/ 0 w 161925"/>
                  <a:gd name="connsiteY15" fmla="*/ 127159 h 171450"/>
                  <a:gd name="connsiteX16" fmla="*/ 17050 w 161925"/>
                  <a:gd name="connsiteY16" fmla="*/ 167640 h 171450"/>
                  <a:gd name="connsiteX17" fmla="*/ 77915 w 161925"/>
                  <a:gd name="connsiteY17" fmla="*/ 177165 h 171450"/>
                  <a:gd name="connsiteX18" fmla="*/ 145637 w 161925"/>
                  <a:gd name="connsiteY18" fmla="*/ 167640 h 171450"/>
                  <a:gd name="connsiteX19" fmla="*/ 163163 w 161925"/>
                  <a:gd name="connsiteY19" fmla="*/ 124111 h 171450"/>
                  <a:gd name="connsiteX20" fmla="*/ 147828 w 161925"/>
                  <a:gd name="connsiteY20" fmla="*/ 83630 h 171450"/>
                  <a:gd name="connsiteX21" fmla="*/ 85249 w 161925"/>
                  <a:gd name="connsiteY21" fmla="*/ 73152 h 171450"/>
                  <a:gd name="connsiteX22" fmla="*/ 39338 w 161925"/>
                  <a:gd name="connsiteY22" fmla="*/ 67913 h 171450"/>
                  <a:gd name="connsiteX23" fmla="*/ 34195 w 161925"/>
                  <a:gd name="connsiteY23" fmla="*/ 48863 h 171450"/>
                  <a:gd name="connsiteX24" fmla="*/ 41434 w 161925"/>
                  <a:gd name="connsiteY24" fmla="*/ 31147 h 171450"/>
                  <a:gd name="connsiteX25" fmla="*/ 85058 w 161925"/>
                  <a:gd name="connsiteY25" fmla="*/ 26670 h 171450"/>
                  <a:gd name="connsiteX26" fmla="*/ 120301 w 161925"/>
                  <a:gd name="connsiteY26" fmla="*/ 31052 h 171450"/>
                  <a:gd name="connsiteX27" fmla="*/ 125921 w 161925"/>
                  <a:gd name="connsiteY27" fmla="*/ 51435 h 171450"/>
                  <a:gd name="connsiteX28" fmla="*/ 125921 w 161925"/>
                  <a:gd name="connsiteY28" fmla="*/ 56960 h 171450"/>
                  <a:gd name="connsiteX29" fmla="*/ 159544 w 161925"/>
                  <a:gd name="connsiteY29" fmla="*/ 56960 h 171450"/>
                  <a:gd name="connsiteX30" fmla="*/ 159544 w 161925"/>
                  <a:gd name="connsiteY30" fmla="*/ 51435 h 171450"/>
                  <a:gd name="connsiteX31" fmla="*/ 143256 w 161925"/>
                  <a:gd name="connsiteY31" fmla="*/ 9525 h 171450"/>
                  <a:gd name="connsiteX32" fmla="*/ 81439 w 161925"/>
                  <a:gd name="connsiteY32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61925" h="171450">
                    <a:moveTo>
                      <a:pt x="81344" y="0"/>
                    </a:moveTo>
                    <a:cubicBezTo>
                      <a:pt x="50292" y="0"/>
                      <a:pt x="29908" y="3334"/>
                      <a:pt x="18955" y="10192"/>
                    </a:cubicBezTo>
                    <a:cubicBezTo>
                      <a:pt x="8001" y="17050"/>
                      <a:pt x="1429" y="31718"/>
                      <a:pt x="1429" y="52007"/>
                    </a:cubicBezTo>
                    <a:cubicBezTo>
                      <a:pt x="1429" y="72295"/>
                      <a:pt x="10954" y="97917"/>
                      <a:pt x="57912" y="100489"/>
                    </a:cubicBezTo>
                    <a:lnTo>
                      <a:pt x="80391" y="101441"/>
                    </a:lnTo>
                    <a:lnTo>
                      <a:pt x="104013" y="102394"/>
                    </a:lnTo>
                    <a:cubicBezTo>
                      <a:pt x="111763" y="101845"/>
                      <a:pt x="119512" y="103461"/>
                      <a:pt x="126397" y="107061"/>
                    </a:cubicBezTo>
                    <a:cubicBezTo>
                      <a:pt x="129589" y="111600"/>
                      <a:pt x="130887" y="117202"/>
                      <a:pt x="130016" y="122682"/>
                    </a:cubicBezTo>
                    <a:cubicBezTo>
                      <a:pt x="130016" y="140018"/>
                      <a:pt x="126111" y="144875"/>
                      <a:pt x="123730" y="146304"/>
                    </a:cubicBezTo>
                    <a:cubicBezTo>
                      <a:pt x="121348" y="147733"/>
                      <a:pt x="111157" y="150876"/>
                      <a:pt x="78391" y="150876"/>
                    </a:cubicBezTo>
                    <a:cubicBezTo>
                      <a:pt x="49816" y="150876"/>
                      <a:pt x="41624" y="148114"/>
                      <a:pt x="39052" y="146399"/>
                    </a:cubicBezTo>
                    <a:cubicBezTo>
                      <a:pt x="36481" y="144685"/>
                      <a:pt x="33338" y="140303"/>
                      <a:pt x="33338" y="123825"/>
                    </a:cubicBezTo>
                    <a:lnTo>
                      <a:pt x="33338" y="114300"/>
                    </a:lnTo>
                    <a:lnTo>
                      <a:pt x="0" y="114300"/>
                    </a:lnTo>
                    <a:lnTo>
                      <a:pt x="0" y="119920"/>
                    </a:lnTo>
                    <a:lnTo>
                      <a:pt x="0" y="127159"/>
                    </a:lnTo>
                    <a:cubicBezTo>
                      <a:pt x="0" y="146971"/>
                      <a:pt x="5715" y="160687"/>
                      <a:pt x="17050" y="167640"/>
                    </a:cubicBezTo>
                    <a:cubicBezTo>
                      <a:pt x="28385" y="174593"/>
                      <a:pt x="47530" y="177165"/>
                      <a:pt x="77915" y="177165"/>
                    </a:cubicBezTo>
                    <a:cubicBezTo>
                      <a:pt x="112776" y="177165"/>
                      <a:pt x="135065" y="174022"/>
                      <a:pt x="145637" y="167640"/>
                    </a:cubicBezTo>
                    <a:cubicBezTo>
                      <a:pt x="156210" y="161258"/>
                      <a:pt x="163163" y="146018"/>
                      <a:pt x="163163" y="124111"/>
                    </a:cubicBezTo>
                    <a:cubicBezTo>
                      <a:pt x="163163" y="102203"/>
                      <a:pt x="158115" y="90107"/>
                      <a:pt x="147828" y="83630"/>
                    </a:cubicBezTo>
                    <a:cubicBezTo>
                      <a:pt x="137541" y="77153"/>
                      <a:pt x="117920" y="74105"/>
                      <a:pt x="85249" y="73152"/>
                    </a:cubicBezTo>
                    <a:cubicBezTo>
                      <a:pt x="52578" y="72200"/>
                      <a:pt x="42005" y="69342"/>
                      <a:pt x="39338" y="67913"/>
                    </a:cubicBezTo>
                    <a:cubicBezTo>
                      <a:pt x="36671" y="66485"/>
                      <a:pt x="34195" y="59150"/>
                      <a:pt x="34195" y="48863"/>
                    </a:cubicBezTo>
                    <a:cubicBezTo>
                      <a:pt x="34195" y="34766"/>
                      <a:pt x="39624" y="32099"/>
                      <a:pt x="41434" y="31147"/>
                    </a:cubicBezTo>
                    <a:cubicBezTo>
                      <a:pt x="45625" y="29051"/>
                      <a:pt x="56579" y="26670"/>
                      <a:pt x="85058" y="26670"/>
                    </a:cubicBezTo>
                    <a:cubicBezTo>
                      <a:pt x="109823" y="26670"/>
                      <a:pt x="117729" y="29432"/>
                      <a:pt x="120301" y="31052"/>
                    </a:cubicBezTo>
                    <a:cubicBezTo>
                      <a:pt x="122873" y="32671"/>
                      <a:pt x="125921" y="40577"/>
                      <a:pt x="125921" y="51435"/>
                    </a:cubicBezTo>
                    <a:lnTo>
                      <a:pt x="125921" y="56960"/>
                    </a:lnTo>
                    <a:lnTo>
                      <a:pt x="159544" y="56960"/>
                    </a:lnTo>
                    <a:lnTo>
                      <a:pt x="159544" y="51435"/>
                    </a:lnTo>
                    <a:cubicBezTo>
                      <a:pt x="159544" y="30480"/>
                      <a:pt x="154019" y="16383"/>
                      <a:pt x="143256" y="9525"/>
                    </a:cubicBezTo>
                    <a:cubicBezTo>
                      <a:pt x="132493" y="2667"/>
                      <a:pt x="112871" y="0"/>
                      <a:pt x="81439" y="0"/>
                    </a:cubicBez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ihandform: Form 17">
                <a:extLst>
                  <a:ext uri="{FF2B5EF4-FFF2-40B4-BE49-F238E27FC236}">
                    <a16:creationId xmlns:a16="http://schemas.microsoft.com/office/drawing/2014/main" xmlns="" id="{D077EE46-1AAF-495B-AD12-5905736D47C3}"/>
                  </a:ext>
                </a:extLst>
              </p:cNvPr>
              <p:cNvSpPr/>
              <p:nvPr/>
            </p:nvSpPr>
            <p:spPr>
              <a:xfrm>
                <a:off x="10367465" y="1255626"/>
                <a:ext cx="161925" cy="171450"/>
              </a:xfrm>
              <a:custGeom>
                <a:avLst/>
                <a:gdLst>
                  <a:gd name="connsiteX0" fmla="*/ 164592 w 161925"/>
                  <a:gd name="connsiteY0" fmla="*/ 381 h 171450"/>
                  <a:gd name="connsiteX1" fmla="*/ 0 w 161925"/>
                  <a:gd name="connsiteY1" fmla="*/ 381 h 171450"/>
                  <a:gd name="connsiteX2" fmla="*/ 0 w 161925"/>
                  <a:gd name="connsiteY2" fmla="*/ 28956 h 171450"/>
                  <a:gd name="connsiteX3" fmla="*/ 65723 w 161925"/>
                  <a:gd name="connsiteY3" fmla="*/ 28956 h 171450"/>
                  <a:gd name="connsiteX4" fmla="*/ 65723 w 161925"/>
                  <a:gd name="connsiteY4" fmla="*/ 174498 h 171450"/>
                  <a:gd name="connsiteX5" fmla="*/ 99441 w 161925"/>
                  <a:gd name="connsiteY5" fmla="*/ 174498 h 171450"/>
                  <a:gd name="connsiteX6" fmla="*/ 99441 w 161925"/>
                  <a:gd name="connsiteY6" fmla="*/ 28575 h 171450"/>
                  <a:gd name="connsiteX7" fmla="*/ 164592 w 161925"/>
                  <a:gd name="connsiteY7" fmla="*/ 28575 h 171450"/>
                  <a:gd name="connsiteX8" fmla="*/ 164592 w 161925"/>
                  <a:gd name="connsiteY8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925" h="171450">
                    <a:moveTo>
                      <a:pt x="164592" y="381"/>
                    </a:moveTo>
                    <a:lnTo>
                      <a:pt x="0" y="381"/>
                    </a:lnTo>
                    <a:lnTo>
                      <a:pt x="0" y="28956"/>
                    </a:lnTo>
                    <a:lnTo>
                      <a:pt x="65723" y="28956"/>
                    </a:lnTo>
                    <a:lnTo>
                      <a:pt x="65723" y="174498"/>
                    </a:lnTo>
                    <a:lnTo>
                      <a:pt x="99441" y="174498"/>
                    </a:lnTo>
                    <a:lnTo>
                      <a:pt x="99441" y="28575"/>
                    </a:lnTo>
                    <a:lnTo>
                      <a:pt x="164592" y="28575"/>
                    </a:lnTo>
                    <a:lnTo>
                      <a:pt x="164592" y="0"/>
                    </a:ln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: Form 18">
                <a:extLst>
                  <a:ext uri="{FF2B5EF4-FFF2-40B4-BE49-F238E27FC236}">
                    <a16:creationId xmlns:a16="http://schemas.microsoft.com/office/drawing/2014/main" xmlns="" id="{69FED47D-7139-467F-BCA0-4739997FA092}"/>
                  </a:ext>
                </a:extLst>
              </p:cNvPr>
              <p:cNvSpPr/>
              <p:nvPr/>
            </p:nvSpPr>
            <p:spPr>
              <a:xfrm>
                <a:off x="11562281" y="1256007"/>
                <a:ext cx="171450" cy="171450"/>
              </a:xfrm>
              <a:custGeom>
                <a:avLst/>
                <a:gdLst>
                  <a:gd name="connsiteX0" fmla="*/ 161925 w 171450"/>
                  <a:gd name="connsiteY0" fmla="*/ 17050 h 171450"/>
                  <a:gd name="connsiteX1" fmla="*/ 99346 w 171450"/>
                  <a:gd name="connsiteY1" fmla="*/ 0 h 171450"/>
                  <a:gd name="connsiteX2" fmla="*/ 0 w 171450"/>
                  <a:gd name="connsiteY2" fmla="*/ 0 h 171450"/>
                  <a:gd name="connsiteX3" fmla="*/ 0 w 171450"/>
                  <a:gd name="connsiteY3" fmla="*/ 174117 h 171450"/>
                  <a:gd name="connsiteX4" fmla="*/ 104775 w 171450"/>
                  <a:gd name="connsiteY4" fmla="*/ 174117 h 171450"/>
                  <a:gd name="connsiteX5" fmla="*/ 163735 w 171450"/>
                  <a:gd name="connsiteY5" fmla="*/ 154115 h 171450"/>
                  <a:gd name="connsiteX6" fmla="*/ 178499 w 171450"/>
                  <a:gd name="connsiteY6" fmla="*/ 79915 h 171450"/>
                  <a:gd name="connsiteX7" fmla="*/ 161925 w 171450"/>
                  <a:gd name="connsiteY7" fmla="*/ 17050 h 171450"/>
                  <a:gd name="connsiteX8" fmla="*/ 136588 w 171450"/>
                  <a:gd name="connsiteY8" fmla="*/ 137731 h 171450"/>
                  <a:gd name="connsiteX9" fmla="*/ 94107 w 171450"/>
                  <a:gd name="connsiteY9" fmla="*/ 147256 h 171450"/>
                  <a:gd name="connsiteX10" fmla="*/ 33909 w 171450"/>
                  <a:gd name="connsiteY10" fmla="*/ 147256 h 171450"/>
                  <a:gd name="connsiteX11" fmla="*/ 33909 w 171450"/>
                  <a:gd name="connsiteY11" fmla="*/ 26575 h 171450"/>
                  <a:gd name="connsiteX12" fmla="*/ 98679 w 171450"/>
                  <a:gd name="connsiteY12" fmla="*/ 26575 h 171450"/>
                  <a:gd name="connsiteX13" fmla="*/ 137732 w 171450"/>
                  <a:gd name="connsiteY13" fmla="*/ 36100 h 171450"/>
                  <a:gd name="connsiteX14" fmla="*/ 145637 w 171450"/>
                  <a:gd name="connsiteY14" fmla="*/ 88964 h 171450"/>
                  <a:gd name="connsiteX15" fmla="*/ 136588 w 171450"/>
                  <a:gd name="connsiteY15" fmla="*/ 137731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1450" h="171450">
                    <a:moveTo>
                      <a:pt x="161925" y="17050"/>
                    </a:moveTo>
                    <a:cubicBezTo>
                      <a:pt x="150495" y="5620"/>
                      <a:pt x="130016" y="0"/>
                      <a:pt x="99346" y="0"/>
                    </a:cubicBezTo>
                    <a:lnTo>
                      <a:pt x="0" y="0"/>
                    </a:lnTo>
                    <a:lnTo>
                      <a:pt x="0" y="174117"/>
                    </a:lnTo>
                    <a:lnTo>
                      <a:pt x="104775" y="174117"/>
                    </a:lnTo>
                    <a:cubicBezTo>
                      <a:pt x="134112" y="174117"/>
                      <a:pt x="153353" y="167545"/>
                      <a:pt x="163735" y="154115"/>
                    </a:cubicBezTo>
                    <a:cubicBezTo>
                      <a:pt x="174117" y="140684"/>
                      <a:pt x="178499" y="116872"/>
                      <a:pt x="178499" y="79915"/>
                    </a:cubicBezTo>
                    <a:cubicBezTo>
                      <a:pt x="178403" y="49149"/>
                      <a:pt x="172879" y="28480"/>
                      <a:pt x="161925" y="17050"/>
                    </a:cubicBezTo>
                    <a:close/>
                    <a:moveTo>
                      <a:pt x="136588" y="137731"/>
                    </a:moveTo>
                    <a:cubicBezTo>
                      <a:pt x="132588" y="142208"/>
                      <a:pt x="121920" y="147256"/>
                      <a:pt x="94107" y="147256"/>
                    </a:cubicBezTo>
                    <a:lnTo>
                      <a:pt x="33909" y="147256"/>
                    </a:lnTo>
                    <a:lnTo>
                      <a:pt x="33909" y="26575"/>
                    </a:lnTo>
                    <a:lnTo>
                      <a:pt x="98679" y="26575"/>
                    </a:lnTo>
                    <a:cubicBezTo>
                      <a:pt x="124873" y="26575"/>
                      <a:pt x="134398" y="31814"/>
                      <a:pt x="137732" y="36100"/>
                    </a:cubicBezTo>
                    <a:cubicBezTo>
                      <a:pt x="141065" y="40386"/>
                      <a:pt x="145637" y="53816"/>
                      <a:pt x="145637" y="88964"/>
                    </a:cubicBezTo>
                    <a:cubicBezTo>
                      <a:pt x="145637" y="120872"/>
                      <a:pt x="140779" y="133064"/>
                      <a:pt x="136588" y="137731"/>
                    </a:cubicBez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: Form 19">
                <a:extLst>
                  <a:ext uri="{FF2B5EF4-FFF2-40B4-BE49-F238E27FC236}">
                    <a16:creationId xmlns:a16="http://schemas.microsoft.com/office/drawing/2014/main" xmlns="" id="{AB9CFBD2-BAE8-4634-A865-99E2E7AB9F72}"/>
                  </a:ext>
                </a:extLst>
              </p:cNvPr>
              <p:cNvSpPr/>
              <p:nvPr/>
            </p:nvSpPr>
            <p:spPr>
              <a:xfrm>
                <a:off x="11165851" y="1254483"/>
                <a:ext cx="161925" cy="171450"/>
              </a:xfrm>
              <a:custGeom>
                <a:avLst/>
                <a:gdLst>
                  <a:gd name="connsiteX0" fmla="*/ 151162 w 161925"/>
                  <a:gd name="connsiteY0" fmla="*/ 10097 h 171450"/>
                  <a:gd name="connsiteX1" fmla="*/ 85630 w 161925"/>
                  <a:gd name="connsiteY1" fmla="*/ 0 h 171450"/>
                  <a:gd name="connsiteX2" fmla="*/ 18002 w 161925"/>
                  <a:gd name="connsiteY2" fmla="*/ 10573 h 171450"/>
                  <a:gd name="connsiteX3" fmla="*/ 0 w 161925"/>
                  <a:gd name="connsiteY3" fmla="*/ 56007 h 171450"/>
                  <a:gd name="connsiteX4" fmla="*/ 0 w 161925"/>
                  <a:gd name="connsiteY4" fmla="*/ 175831 h 171450"/>
                  <a:gd name="connsiteX5" fmla="*/ 33814 w 161925"/>
                  <a:gd name="connsiteY5" fmla="*/ 175831 h 171450"/>
                  <a:gd name="connsiteX6" fmla="*/ 33814 w 161925"/>
                  <a:gd name="connsiteY6" fmla="*/ 119539 h 171450"/>
                  <a:gd name="connsiteX7" fmla="*/ 136874 w 161925"/>
                  <a:gd name="connsiteY7" fmla="*/ 119539 h 171450"/>
                  <a:gd name="connsiteX8" fmla="*/ 136874 w 161925"/>
                  <a:gd name="connsiteY8" fmla="*/ 175831 h 171450"/>
                  <a:gd name="connsiteX9" fmla="*/ 170688 w 161925"/>
                  <a:gd name="connsiteY9" fmla="*/ 175831 h 171450"/>
                  <a:gd name="connsiteX10" fmla="*/ 170688 w 161925"/>
                  <a:gd name="connsiteY10" fmla="*/ 50673 h 171450"/>
                  <a:gd name="connsiteX11" fmla="*/ 151162 w 161925"/>
                  <a:gd name="connsiteY11" fmla="*/ 10097 h 171450"/>
                  <a:gd name="connsiteX12" fmla="*/ 33718 w 161925"/>
                  <a:gd name="connsiteY12" fmla="*/ 98298 h 171450"/>
                  <a:gd name="connsiteX13" fmla="*/ 33718 w 161925"/>
                  <a:gd name="connsiteY13" fmla="*/ 56102 h 171450"/>
                  <a:gd name="connsiteX14" fmla="*/ 40767 w 161925"/>
                  <a:gd name="connsiteY14" fmla="*/ 31623 h 171450"/>
                  <a:gd name="connsiteX15" fmla="*/ 87249 w 161925"/>
                  <a:gd name="connsiteY15" fmla="*/ 26575 h 171450"/>
                  <a:gd name="connsiteX16" fmla="*/ 130016 w 161925"/>
                  <a:gd name="connsiteY16" fmla="*/ 31623 h 171450"/>
                  <a:gd name="connsiteX17" fmla="*/ 136779 w 161925"/>
                  <a:gd name="connsiteY17" fmla="*/ 56007 h 171450"/>
                  <a:gd name="connsiteX18" fmla="*/ 136779 w 161925"/>
                  <a:gd name="connsiteY18" fmla="*/ 98298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1925" h="171450">
                    <a:moveTo>
                      <a:pt x="151162" y="10097"/>
                    </a:moveTo>
                    <a:cubicBezTo>
                      <a:pt x="139160" y="3334"/>
                      <a:pt x="117729" y="0"/>
                      <a:pt x="85630" y="0"/>
                    </a:cubicBezTo>
                    <a:cubicBezTo>
                      <a:pt x="51435" y="0"/>
                      <a:pt x="29242" y="3429"/>
                      <a:pt x="18002" y="10573"/>
                    </a:cubicBezTo>
                    <a:cubicBezTo>
                      <a:pt x="6763" y="17717"/>
                      <a:pt x="0" y="33338"/>
                      <a:pt x="0" y="56007"/>
                    </a:cubicBezTo>
                    <a:lnTo>
                      <a:pt x="0" y="175831"/>
                    </a:lnTo>
                    <a:lnTo>
                      <a:pt x="33814" y="175831"/>
                    </a:lnTo>
                    <a:lnTo>
                      <a:pt x="33814" y="119539"/>
                    </a:lnTo>
                    <a:lnTo>
                      <a:pt x="136874" y="119539"/>
                    </a:lnTo>
                    <a:lnTo>
                      <a:pt x="136874" y="175831"/>
                    </a:lnTo>
                    <a:lnTo>
                      <a:pt x="170688" y="175831"/>
                    </a:lnTo>
                    <a:lnTo>
                      <a:pt x="170688" y="50673"/>
                    </a:lnTo>
                    <a:cubicBezTo>
                      <a:pt x="170593" y="30956"/>
                      <a:pt x="164021" y="17335"/>
                      <a:pt x="151162" y="10097"/>
                    </a:cubicBezTo>
                    <a:close/>
                    <a:moveTo>
                      <a:pt x="33718" y="98298"/>
                    </a:moveTo>
                    <a:lnTo>
                      <a:pt x="33718" y="56102"/>
                    </a:lnTo>
                    <a:cubicBezTo>
                      <a:pt x="33718" y="42863"/>
                      <a:pt x="36195" y="34385"/>
                      <a:pt x="40767" y="31623"/>
                    </a:cubicBezTo>
                    <a:cubicBezTo>
                      <a:pt x="43910" y="29718"/>
                      <a:pt x="54102" y="26575"/>
                      <a:pt x="87249" y="26575"/>
                    </a:cubicBezTo>
                    <a:cubicBezTo>
                      <a:pt x="117538" y="26575"/>
                      <a:pt x="127063" y="29718"/>
                      <a:pt x="130016" y="31623"/>
                    </a:cubicBezTo>
                    <a:cubicBezTo>
                      <a:pt x="132969" y="33528"/>
                      <a:pt x="136779" y="43053"/>
                      <a:pt x="136779" y="56007"/>
                    </a:cubicBezTo>
                    <a:lnTo>
                      <a:pt x="136779" y="98298"/>
                    </a:ln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Freihandform: Form 20">
                <a:extLst>
                  <a:ext uri="{FF2B5EF4-FFF2-40B4-BE49-F238E27FC236}">
                    <a16:creationId xmlns:a16="http://schemas.microsoft.com/office/drawing/2014/main" xmlns="" id="{8EFC338E-E2AF-42B5-817D-672F8968ECC8}"/>
                  </a:ext>
                </a:extLst>
              </p:cNvPr>
              <p:cNvSpPr/>
              <p:nvPr/>
            </p:nvSpPr>
            <p:spPr>
              <a:xfrm>
                <a:off x="10550059" y="1254483"/>
                <a:ext cx="161925" cy="171450"/>
              </a:xfrm>
              <a:custGeom>
                <a:avLst/>
                <a:gdLst>
                  <a:gd name="connsiteX0" fmla="*/ 151257 w 161925"/>
                  <a:gd name="connsiteY0" fmla="*/ 10097 h 171450"/>
                  <a:gd name="connsiteX1" fmla="*/ 85725 w 161925"/>
                  <a:gd name="connsiteY1" fmla="*/ 0 h 171450"/>
                  <a:gd name="connsiteX2" fmla="*/ 18002 w 161925"/>
                  <a:gd name="connsiteY2" fmla="*/ 10573 h 171450"/>
                  <a:gd name="connsiteX3" fmla="*/ 0 w 161925"/>
                  <a:gd name="connsiteY3" fmla="*/ 56007 h 171450"/>
                  <a:gd name="connsiteX4" fmla="*/ 0 w 161925"/>
                  <a:gd name="connsiteY4" fmla="*/ 175831 h 171450"/>
                  <a:gd name="connsiteX5" fmla="*/ 33814 w 161925"/>
                  <a:gd name="connsiteY5" fmla="*/ 175831 h 171450"/>
                  <a:gd name="connsiteX6" fmla="*/ 33814 w 161925"/>
                  <a:gd name="connsiteY6" fmla="*/ 119539 h 171450"/>
                  <a:gd name="connsiteX7" fmla="*/ 136874 w 161925"/>
                  <a:gd name="connsiteY7" fmla="*/ 119539 h 171450"/>
                  <a:gd name="connsiteX8" fmla="*/ 136874 w 161925"/>
                  <a:gd name="connsiteY8" fmla="*/ 175831 h 171450"/>
                  <a:gd name="connsiteX9" fmla="*/ 170688 w 161925"/>
                  <a:gd name="connsiteY9" fmla="*/ 175831 h 171450"/>
                  <a:gd name="connsiteX10" fmla="*/ 170688 w 161925"/>
                  <a:gd name="connsiteY10" fmla="*/ 50673 h 171450"/>
                  <a:gd name="connsiteX11" fmla="*/ 151257 w 161925"/>
                  <a:gd name="connsiteY11" fmla="*/ 10097 h 171450"/>
                  <a:gd name="connsiteX12" fmla="*/ 33814 w 161925"/>
                  <a:gd name="connsiteY12" fmla="*/ 98298 h 171450"/>
                  <a:gd name="connsiteX13" fmla="*/ 33814 w 161925"/>
                  <a:gd name="connsiteY13" fmla="*/ 56102 h 171450"/>
                  <a:gd name="connsiteX14" fmla="*/ 40862 w 161925"/>
                  <a:gd name="connsiteY14" fmla="*/ 31623 h 171450"/>
                  <a:gd name="connsiteX15" fmla="*/ 87344 w 161925"/>
                  <a:gd name="connsiteY15" fmla="*/ 26575 h 171450"/>
                  <a:gd name="connsiteX16" fmla="*/ 130111 w 161925"/>
                  <a:gd name="connsiteY16" fmla="*/ 31623 h 171450"/>
                  <a:gd name="connsiteX17" fmla="*/ 136874 w 161925"/>
                  <a:gd name="connsiteY17" fmla="*/ 56007 h 171450"/>
                  <a:gd name="connsiteX18" fmla="*/ 136874 w 161925"/>
                  <a:gd name="connsiteY18" fmla="*/ 98298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1925" h="171450">
                    <a:moveTo>
                      <a:pt x="151257" y="10097"/>
                    </a:moveTo>
                    <a:cubicBezTo>
                      <a:pt x="139256" y="3334"/>
                      <a:pt x="117824" y="0"/>
                      <a:pt x="85725" y="0"/>
                    </a:cubicBezTo>
                    <a:cubicBezTo>
                      <a:pt x="51435" y="0"/>
                      <a:pt x="29337" y="3429"/>
                      <a:pt x="18002" y="10573"/>
                    </a:cubicBezTo>
                    <a:cubicBezTo>
                      <a:pt x="6667" y="17717"/>
                      <a:pt x="0" y="33433"/>
                      <a:pt x="0" y="56007"/>
                    </a:cubicBezTo>
                    <a:lnTo>
                      <a:pt x="0" y="175831"/>
                    </a:lnTo>
                    <a:lnTo>
                      <a:pt x="33814" y="175831"/>
                    </a:lnTo>
                    <a:lnTo>
                      <a:pt x="33814" y="119539"/>
                    </a:lnTo>
                    <a:lnTo>
                      <a:pt x="136874" y="119539"/>
                    </a:lnTo>
                    <a:lnTo>
                      <a:pt x="136874" y="175831"/>
                    </a:lnTo>
                    <a:lnTo>
                      <a:pt x="170688" y="175831"/>
                    </a:lnTo>
                    <a:lnTo>
                      <a:pt x="170688" y="50673"/>
                    </a:lnTo>
                    <a:cubicBezTo>
                      <a:pt x="170593" y="30956"/>
                      <a:pt x="164497" y="17431"/>
                      <a:pt x="151257" y="10097"/>
                    </a:cubicBezTo>
                    <a:close/>
                    <a:moveTo>
                      <a:pt x="33814" y="98298"/>
                    </a:moveTo>
                    <a:lnTo>
                      <a:pt x="33814" y="56102"/>
                    </a:lnTo>
                    <a:cubicBezTo>
                      <a:pt x="33814" y="42863"/>
                      <a:pt x="36290" y="34385"/>
                      <a:pt x="40862" y="31623"/>
                    </a:cubicBezTo>
                    <a:cubicBezTo>
                      <a:pt x="44005" y="29718"/>
                      <a:pt x="54197" y="26575"/>
                      <a:pt x="87344" y="26575"/>
                    </a:cubicBezTo>
                    <a:cubicBezTo>
                      <a:pt x="117634" y="26575"/>
                      <a:pt x="127159" y="29718"/>
                      <a:pt x="130111" y="31623"/>
                    </a:cubicBezTo>
                    <a:cubicBezTo>
                      <a:pt x="133064" y="33528"/>
                      <a:pt x="136874" y="43053"/>
                      <a:pt x="136874" y="56007"/>
                    </a:cubicBezTo>
                    <a:lnTo>
                      <a:pt x="136874" y="98298"/>
                    </a:ln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6" name="Freihandform: Form 21">
                <a:extLst>
                  <a:ext uri="{FF2B5EF4-FFF2-40B4-BE49-F238E27FC236}">
                    <a16:creationId xmlns:a16="http://schemas.microsoft.com/office/drawing/2014/main" xmlns="" id="{6E3647AC-75D7-4FD0-B8AD-7629BB8A843D}"/>
                  </a:ext>
                </a:extLst>
              </p:cNvPr>
              <p:cNvSpPr/>
              <p:nvPr/>
            </p:nvSpPr>
            <p:spPr>
              <a:xfrm>
                <a:off x="10748751" y="1256007"/>
                <a:ext cx="180975" cy="171450"/>
              </a:xfrm>
              <a:custGeom>
                <a:avLst/>
                <a:gdLst>
                  <a:gd name="connsiteX0" fmla="*/ 183166 w 180975"/>
                  <a:gd name="connsiteY0" fmla="*/ 0 h 171450"/>
                  <a:gd name="connsiteX1" fmla="*/ 177641 w 180975"/>
                  <a:gd name="connsiteY1" fmla="*/ 0 h 171450"/>
                  <a:gd name="connsiteX2" fmla="*/ 154972 w 180975"/>
                  <a:gd name="connsiteY2" fmla="*/ 0 h 171450"/>
                  <a:gd name="connsiteX3" fmla="*/ 149447 w 180975"/>
                  <a:gd name="connsiteY3" fmla="*/ 0 h 171450"/>
                  <a:gd name="connsiteX4" fmla="*/ 149447 w 180975"/>
                  <a:gd name="connsiteY4" fmla="*/ 5524 h 171450"/>
                  <a:gd name="connsiteX5" fmla="*/ 149447 w 180975"/>
                  <a:gd name="connsiteY5" fmla="*/ 129349 h 171450"/>
                  <a:gd name="connsiteX6" fmla="*/ 149447 w 180975"/>
                  <a:gd name="connsiteY6" fmla="*/ 137446 h 171450"/>
                  <a:gd name="connsiteX7" fmla="*/ 140017 w 180975"/>
                  <a:gd name="connsiteY7" fmla="*/ 125063 h 171450"/>
                  <a:gd name="connsiteX8" fmla="*/ 120872 w 180975"/>
                  <a:gd name="connsiteY8" fmla="*/ 99441 h 171450"/>
                  <a:gd name="connsiteX9" fmla="*/ 47149 w 180975"/>
                  <a:gd name="connsiteY9" fmla="*/ 2191 h 171450"/>
                  <a:gd name="connsiteX10" fmla="*/ 45529 w 180975"/>
                  <a:gd name="connsiteY10" fmla="*/ 0 h 171450"/>
                  <a:gd name="connsiteX11" fmla="*/ 42767 w 180975"/>
                  <a:gd name="connsiteY11" fmla="*/ 0 h 171450"/>
                  <a:gd name="connsiteX12" fmla="*/ 5525 w 180975"/>
                  <a:gd name="connsiteY12" fmla="*/ 0 h 171450"/>
                  <a:gd name="connsiteX13" fmla="*/ 0 w 180975"/>
                  <a:gd name="connsiteY13" fmla="*/ 0 h 171450"/>
                  <a:gd name="connsiteX14" fmla="*/ 0 w 180975"/>
                  <a:gd name="connsiteY14" fmla="*/ 5524 h 171450"/>
                  <a:gd name="connsiteX15" fmla="*/ 0 w 180975"/>
                  <a:gd name="connsiteY15" fmla="*/ 168593 h 171450"/>
                  <a:gd name="connsiteX16" fmla="*/ 0 w 180975"/>
                  <a:gd name="connsiteY16" fmla="*/ 174117 h 171450"/>
                  <a:gd name="connsiteX17" fmla="*/ 5525 w 180975"/>
                  <a:gd name="connsiteY17" fmla="*/ 174117 h 171450"/>
                  <a:gd name="connsiteX18" fmla="*/ 28289 w 180975"/>
                  <a:gd name="connsiteY18" fmla="*/ 174117 h 171450"/>
                  <a:gd name="connsiteX19" fmla="*/ 33814 w 180975"/>
                  <a:gd name="connsiteY19" fmla="*/ 174117 h 171450"/>
                  <a:gd name="connsiteX20" fmla="*/ 33814 w 180975"/>
                  <a:gd name="connsiteY20" fmla="*/ 168593 h 171450"/>
                  <a:gd name="connsiteX21" fmla="*/ 33814 w 180975"/>
                  <a:gd name="connsiteY21" fmla="*/ 45720 h 171450"/>
                  <a:gd name="connsiteX22" fmla="*/ 33814 w 180975"/>
                  <a:gd name="connsiteY22" fmla="*/ 37433 h 171450"/>
                  <a:gd name="connsiteX23" fmla="*/ 37719 w 180975"/>
                  <a:gd name="connsiteY23" fmla="*/ 42672 h 171450"/>
                  <a:gd name="connsiteX24" fmla="*/ 51435 w 180975"/>
                  <a:gd name="connsiteY24" fmla="*/ 60960 h 171450"/>
                  <a:gd name="connsiteX25" fmla="*/ 135922 w 180975"/>
                  <a:gd name="connsiteY25" fmla="*/ 172022 h 171450"/>
                  <a:gd name="connsiteX26" fmla="*/ 137541 w 180975"/>
                  <a:gd name="connsiteY26" fmla="*/ 174117 h 171450"/>
                  <a:gd name="connsiteX27" fmla="*/ 140303 w 180975"/>
                  <a:gd name="connsiteY27" fmla="*/ 174117 h 171450"/>
                  <a:gd name="connsiteX28" fmla="*/ 177641 w 180975"/>
                  <a:gd name="connsiteY28" fmla="*/ 174117 h 171450"/>
                  <a:gd name="connsiteX29" fmla="*/ 183166 w 180975"/>
                  <a:gd name="connsiteY29" fmla="*/ 174117 h 171450"/>
                  <a:gd name="connsiteX30" fmla="*/ 183166 w 180975"/>
                  <a:gd name="connsiteY30" fmla="*/ 168593 h 171450"/>
                  <a:gd name="connsiteX31" fmla="*/ 183166 w 180975"/>
                  <a:gd name="connsiteY31" fmla="*/ 5524 h 171450"/>
                  <a:gd name="connsiteX32" fmla="*/ 183166 w 180975"/>
                  <a:gd name="connsiteY32" fmla="*/ 0 h 171450"/>
                  <a:gd name="connsiteX33" fmla="*/ 183166 w 180975"/>
                  <a:gd name="connsiteY33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80975" h="171450">
                    <a:moveTo>
                      <a:pt x="183166" y="0"/>
                    </a:moveTo>
                    <a:lnTo>
                      <a:pt x="177641" y="0"/>
                    </a:lnTo>
                    <a:lnTo>
                      <a:pt x="154972" y="0"/>
                    </a:lnTo>
                    <a:lnTo>
                      <a:pt x="149447" y="0"/>
                    </a:lnTo>
                    <a:lnTo>
                      <a:pt x="149447" y="5524"/>
                    </a:lnTo>
                    <a:lnTo>
                      <a:pt x="149447" y="129349"/>
                    </a:lnTo>
                    <a:lnTo>
                      <a:pt x="149447" y="137446"/>
                    </a:lnTo>
                    <a:lnTo>
                      <a:pt x="140017" y="125063"/>
                    </a:lnTo>
                    <a:lnTo>
                      <a:pt x="120872" y="99441"/>
                    </a:lnTo>
                    <a:lnTo>
                      <a:pt x="47149" y="2191"/>
                    </a:lnTo>
                    <a:lnTo>
                      <a:pt x="45529" y="0"/>
                    </a:lnTo>
                    <a:lnTo>
                      <a:pt x="42767" y="0"/>
                    </a:lnTo>
                    <a:lnTo>
                      <a:pt x="5525" y="0"/>
                    </a:lnTo>
                    <a:lnTo>
                      <a:pt x="0" y="0"/>
                    </a:lnTo>
                    <a:lnTo>
                      <a:pt x="0" y="5524"/>
                    </a:lnTo>
                    <a:lnTo>
                      <a:pt x="0" y="168593"/>
                    </a:lnTo>
                    <a:lnTo>
                      <a:pt x="0" y="174117"/>
                    </a:lnTo>
                    <a:lnTo>
                      <a:pt x="5525" y="174117"/>
                    </a:lnTo>
                    <a:lnTo>
                      <a:pt x="28289" y="174117"/>
                    </a:lnTo>
                    <a:lnTo>
                      <a:pt x="33814" y="174117"/>
                    </a:lnTo>
                    <a:lnTo>
                      <a:pt x="33814" y="168593"/>
                    </a:lnTo>
                    <a:lnTo>
                      <a:pt x="33814" y="45720"/>
                    </a:lnTo>
                    <a:lnTo>
                      <a:pt x="33814" y="37433"/>
                    </a:lnTo>
                    <a:lnTo>
                      <a:pt x="37719" y="42672"/>
                    </a:lnTo>
                    <a:lnTo>
                      <a:pt x="51435" y="60960"/>
                    </a:lnTo>
                    <a:lnTo>
                      <a:pt x="135922" y="172022"/>
                    </a:lnTo>
                    <a:lnTo>
                      <a:pt x="137541" y="174117"/>
                    </a:lnTo>
                    <a:lnTo>
                      <a:pt x="140303" y="174117"/>
                    </a:lnTo>
                    <a:lnTo>
                      <a:pt x="177641" y="174117"/>
                    </a:lnTo>
                    <a:lnTo>
                      <a:pt x="183166" y="174117"/>
                    </a:lnTo>
                    <a:lnTo>
                      <a:pt x="183166" y="168593"/>
                    </a:lnTo>
                    <a:lnTo>
                      <a:pt x="183166" y="5524"/>
                    </a:lnTo>
                    <a:lnTo>
                      <a:pt x="183166" y="0"/>
                    </a:lnTo>
                    <a:lnTo>
                      <a:pt x="183166" y="0"/>
                    </a:ln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" name="Freihandform: Form 22">
                <a:extLst>
                  <a:ext uri="{FF2B5EF4-FFF2-40B4-BE49-F238E27FC236}">
                    <a16:creationId xmlns:a16="http://schemas.microsoft.com/office/drawing/2014/main" xmlns="" id="{9E538A98-7672-4BB1-80AE-F312ED5717A2}"/>
                  </a:ext>
                </a:extLst>
              </p:cNvPr>
              <p:cNvSpPr/>
              <p:nvPr/>
            </p:nvSpPr>
            <p:spPr>
              <a:xfrm>
                <a:off x="10962206" y="1256007"/>
                <a:ext cx="171450" cy="171450"/>
              </a:xfrm>
              <a:custGeom>
                <a:avLst/>
                <a:gdLst>
                  <a:gd name="connsiteX0" fmla="*/ 161163 w 171450"/>
                  <a:gd name="connsiteY0" fmla="*/ 17050 h 171450"/>
                  <a:gd name="connsiteX1" fmla="*/ 98584 w 171450"/>
                  <a:gd name="connsiteY1" fmla="*/ 0 h 171450"/>
                  <a:gd name="connsiteX2" fmla="*/ 0 w 171450"/>
                  <a:gd name="connsiteY2" fmla="*/ 0 h 171450"/>
                  <a:gd name="connsiteX3" fmla="*/ 0 w 171450"/>
                  <a:gd name="connsiteY3" fmla="*/ 174117 h 171450"/>
                  <a:gd name="connsiteX4" fmla="*/ 104775 w 171450"/>
                  <a:gd name="connsiteY4" fmla="*/ 174117 h 171450"/>
                  <a:gd name="connsiteX5" fmla="*/ 163735 w 171450"/>
                  <a:gd name="connsiteY5" fmla="*/ 154115 h 171450"/>
                  <a:gd name="connsiteX6" fmla="*/ 178499 w 171450"/>
                  <a:gd name="connsiteY6" fmla="*/ 79915 h 171450"/>
                  <a:gd name="connsiteX7" fmla="*/ 161163 w 171450"/>
                  <a:gd name="connsiteY7" fmla="*/ 17050 h 171450"/>
                  <a:gd name="connsiteX8" fmla="*/ 136303 w 171450"/>
                  <a:gd name="connsiteY8" fmla="*/ 137731 h 171450"/>
                  <a:gd name="connsiteX9" fmla="*/ 93726 w 171450"/>
                  <a:gd name="connsiteY9" fmla="*/ 147256 h 171450"/>
                  <a:gd name="connsiteX10" fmla="*/ 33623 w 171450"/>
                  <a:gd name="connsiteY10" fmla="*/ 147256 h 171450"/>
                  <a:gd name="connsiteX11" fmla="*/ 33623 w 171450"/>
                  <a:gd name="connsiteY11" fmla="*/ 26575 h 171450"/>
                  <a:gd name="connsiteX12" fmla="*/ 98393 w 171450"/>
                  <a:gd name="connsiteY12" fmla="*/ 26575 h 171450"/>
                  <a:gd name="connsiteX13" fmla="*/ 137446 w 171450"/>
                  <a:gd name="connsiteY13" fmla="*/ 36100 h 171450"/>
                  <a:gd name="connsiteX14" fmla="*/ 145351 w 171450"/>
                  <a:gd name="connsiteY14" fmla="*/ 88964 h 171450"/>
                  <a:gd name="connsiteX15" fmla="*/ 136303 w 171450"/>
                  <a:gd name="connsiteY15" fmla="*/ 137731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1450" h="171450">
                    <a:moveTo>
                      <a:pt x="161163" y="17050"/>
                    </a:moveTo>
                    <a:cubicBezTo>
                      <a:pt x="149733" y="5620"/>
                      <a:pt x="129254" y="0"/>
                      <a:pt x="98584" y="0"/>
                    </a:cubicBezTo>
                    <a:lnTo>
                      <a:pt x="0" y="0"/>
                    </a:lnTo>
                    <a:lnTo>
                      <a:pt x="0" y="174117"/>
                    </a:lnTo>
                    <a:lnTo>
                      <a:pt x="104775" y="174117"/>
                    </a:lnTo>
                    <a:cubicBezTo>
                      <a:pt x="134112" y="174117"/>
                      <a:pt x="153353" y="167545"/>
                      <a:pt x="163735" y="154115"/>
                    </a:cubicBezTo>
                    <a:cubicBezTo>
                      <a:pt x="174117" y="140684"/>
                      <a:pt x="178499" y="116872"/>
                      <a:pt x="178499" y="79915"/>
                    </a:cubicBezTo>
                    <a:cubicBezTo>
                      <a:pt x="178117" y="49149"/>
                      <a:pt x="172593" y="28480"/>
                      <a:pt x="161163" y="17050"/>
                    </a:cubicBezTo>
                    <a:close/>
                    <a:moveTo>
                      <a:pt x="136303" y="137731"/>
                    </a:moveTo>
                    <a:cubicBezTo>
                      <a:pt x="132302" y="142208"/>
                      <a:pt x="121634" y="147256"/>
                      <a:pt x="93726" y="147256"/>
                    </a:cubicBezTo>
                    <a:lnTo>
                      <a:pt x="33623" y="147256"/>
                    </a:lnTo>
                    <a:lnTo>
                      <a:pt x="33623" y="26575"/>
                    </a:lnTo>
                    <a:lnTo>
                      <a:pt x="98393" y="26575"/>
                    </a:lnTo>
                    <a:cubicBezTo>
                      <a:pt x="124587" y="26575"/>
                      <a:pt x="134112" y="31814"/>
                      <a:pt x="137446" y="36100"/>
                    </a:cubicBezTo>
                    <a:cubicBezTo>
                      <a:pt x="140779" y="40386"/>
                      <a:pt x="145351" y="53816"/>
                      <a:pt x="145351" y="88964"/>
                    </a:cubicBezTo>
                    <a:cubicBezTo>
                      <a:pt x="145351" y="120968"/>
                      <a:pt x="140399" y="133064"/>
                      <a:pt x="136303" y="137731"/>
                    </a:cubicBez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" name="Freihandform: Form 23">
                <a:extLst>
                  <a:ext uri="{FF2B5EF4-FFF2-40B4-BE49-F238E27FC236}">
                    <a16:creationId xmlns:a16="http://schemas.microsoft.com/office/drawing/2014/main" xmlns="" id="{3FB8F295-8D26-482B-8DAF-3206328D7BDD}"/>
                  </a:ext>
                </a:extLst>
              </p:cNvPr>
              <p:cNvSpPr/>
              <p:nvPr/>
            </p:nvSpPr>
            <p:spPr>
              <a:xfrm>
                <a:off x="11363494" y="1255816"/>
                <a:ext cx="171450" cy="171450"/>
              </a:xfrm>
              <a:custGeom>
                <a:avLst/>
                <a:gdLst>
                  <a:gd name="connsiteX0" fmla="*/ 167450 w 171450"/>
                  <a:gd name="connsiteY0" fmla="*/ 166497 h 171450"/>
                  <a:gd name="connsiteX1" fmla="*/ 132969 w 171450"/>
                  <a:gd name="connsiteY1" fmla="*/ 105823 h 171450"/>
                  <a:gd name="connsiteX2" fmla="*/ 158020 w 171450"/>
                  <a:gd name="connsiteY2" fmla="*/ 88582 h 171450"/>
                  <a:gd name="connsiteX3" fmla="*/ 166497 w 171450"/>
                  <a:gd name="connsiteY3" fmla="*/ 52197 h 171450"/>
                  <a:gd name="connsiteX4" fmla="*/ 151067 w 171450"/>
                  <a:gd name="connsiteY4" fmla="*/ 11621 h 171450"/>
                  <a:gd name="connsiteX5" fmla="*/ 101727 w 171450"/>
                  <a:gd name="connsiteY5" fmla="*/ 0 h 171450"/>
                  <a:gd name="connsiteX6" fmla="*/ 0 w 171450"/>
                  <a:gd name="connsiteY6" fmla="*/ 0 h 171450"/>
                  <a:gd name="connsiteX7" fmla="*/ 0 w 171450"/>
                  <a:gd name="connsiteY7" fmla="*/ 174784 h 171450"/>
                  <a:gd name="connsiteX8" fmla="*/ 33814 w 171450"/>
                  <a:gd name="connsiteY8" fmla="*/ 174784 h 171450"/>
                  <a:gd name="connsiteX9" fmla="*/ 33814 w 171450"/>
                  <a:gd name="connsiteY9" fmla="*/ 108109 h 171450"/>
                  <a:gd name="connsiteX10" fmla="*/ 97155 w 171450"/>
                  <a:gd name="connsiteY10" fmla="*/ 108109 h 171450"/>
                  <a:gd name="connsiteX11" fmla="*/ 135255 w 171450"/>
                  <a:gd name="connsiteY11" fmla="*/ 171736 h 171450"/>
                  <a:gd name="connsiteX12" fmla="*/ 136874 w 171450"/>
                  <a:gd name="connsiteY12" fmla="*/ 174403 h 171450"/>
                  <a:gd name="connsiteX13" fmla="*/ 172307 w 171450"/>
                  <a:gd name="connsiteY13" fmla="*/ 174403 h 171450"/>
                  <a:gd name="connsiteX14" fmla="*/ 126682 w 171450"/>
                  <a:gd name="connsiteY14" fmla="*/ 76391 h 171450"/>
                  <a:gd name="connsiteX15" fmla="*/ 94202 w 171450"/>
                  <a:gd name="connsiteY15" fmla="*/ 81820 h 171450"/>
                  <a:gd name="connsiteX16" fmla="*/ 33814 w 171450"/>
                  <a:gd name="connsiteY16" fmla="*/ 81820 h 171450"/>
                  <a:gd name="connsiteX17" fmla="*/ 33814 w 171450"/>
                  <a:gd name="connsiteY17" fmla="*/ 26765 h 171450"/>
                  <a:gd name="connsiteX18" fmla="*/ 102013 w 171450"/>
                  <a:gd name="connsiteY18" fmla="*/ 26765 h 171450"/>
                  <a:gd name="connsiteX19" fmla="*/ 128397 w 171450"/>
                  <a:gd name="connsiteY19" fmla="*/ 32004 h 171450"/>
                  <a:gd name="connsiteX20" fmla="*/ 133731 w 171450"/>
                  <a:gd name="connsiteY20" fmla="*/ 56864 h 171450"/>
                  <a:gd name="connsiteX21" fmla="*/ 126682 w 171450"/>
                  <a:gd name="connsiteY21" fmla="*/ 76391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1450" h="171450">
                    <a:moveTo>
                      <a:pt x="167450" y="166497"/>
                    </a:moveTo>
                    <a:lnTo>
                      <a:pt x="132969" y="105823"/>
                    </a:lnTo>
                    <a:cubicBezTo>
                      <a:pt x="142780" y="102560"/>
                      <a:pt x="151466" y="96583"/>
                      <a:pt x="158020" y="88582"/>
                    </a:cubicBezTo>
                    <a:cubicBezTo>
                      <a:pt x="163906" y="77377"/>
                      <a:pt x="166821" y="64850"/>
                      <a:pt x="166497" y="52197"/>
                    </a:cubicBezTo>
                    <a:cubicBezTo>
                      <a:pt x="166497" y="33147"/>
                      <a:pt x="161354" y="19622"/>
                      <a:pt x="151067" y="11621"/>
                    </a:cubicBezTo>
                    <a:cubicBezTo>
                      <a:pt x="140779" y="3620"/>
                      <a:pt x="124968" y="0"/>
                      <a:pt x="101727" y="0"/>
                    </a:cubicBezTo>
                    <a:lnTo>
                      <a:pt x="0" y="0"/>
                    </a:lnTo>
                    <a:lnTo>
                      <a:pt x="0" y="174784"/>
                    </a:lnTo>
                    <a:lnTo>
                      <a:pt x="33814" y="174784"/>
                    </a:lnTo>
                    <a:lnTo>
                      <a:pt x="33814" y="108109"/>
                    </a:lnTo>
                    <a:lnTo>
                      <a:pt x="97155" y="108109"/>
                    </a:lnTo>
                    <a:lnTo>
                      <a:pt x="135255" y="171736"/>
                    </a:lnTo>
                    <a:lnTo>
                      <a:pt x="136874" y="174403"/>
                    </a:lnTo>
                    <a:lnTo>
                      <a:pt x="172307" y="174403"/>
                    </a:lnTo>
                    <a:close/>
                    <a:moveTo>
                      <a:pt x="126682" y="76391"/>
                    </a:moveTo>
                    <a:cubicBezTo>
                      <a:pt x="122968" y="78867"/>
                      <a:pt x="114395" y="81820"/>
                      <a:pt x="94202" y="81820"/>
                    </a:cubicBezTo>
                    <a:lnTo>
                      <a:pt x="33814" y="81820"/>
                    </a:lnTo>
                    <a:lnTo>
                      <a:pt x="33814" y="26765"/>
                    </a:lnTo>
                    <a:lnTo>
                      <a:pt x="102013" y="26765"/>
                    </a:lnTo>
                    <a:cubicBezTo>
                      <a:pt x="120205" y="26765"/>
                      <a:pt x="126301" y="30004"/>
                      <a:pt x="128397" y="32004"/>
                    </a:cubicBezTo>
                    <a:cubicBezTo>
                      <a:pt x="130492" y="34004"/>
                      <a:pt x="133731" y="39624"/>
                      <a:pt x="133731" y="56864"/>
                    </a:cubicBezTo>
                    <a:cubicBezTo>
                      <a:pt x="134722" y="64135"/>
                      <a:pt x="132093" y="71431"/>
                      <a:pt x="126682" y="76391"/>
                    </a:cubicBez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9" name="Freihandform: Form 24">
                <a:extLst>
                  <a:ext uri="{FF2B5EF4-FFF2-40B4-BE49-F238E27FC236}">
                    <a16:creationId xmlns:a16="http://schemas.microsoft.com/office/drawing/2014/main" xmlns="" id="{5ADEC6F1-C4C2-475D-89D0-3B50BA1D1F02}"/>
                  </a:ext>
                </a:extLst>
              </p:cNvPr>
              <p:cNvSpPr/>
              <p:nvPr/>
            </p:nvSpPr>
            <p:spPr>
              <a:xfrm>
                <a:off x="11766783" y="1254388"/>
                <a:ext cx="161925" cy="171450"/>
              </a:xfrm>
              <a:custGeom>
                <a:avLst/>
                <a:gdLst>
                  <a:gd name="connsiteX0" fmla="*/ 81248 w 161925"/>
                  <a:gd name="connsiteY0" fmla="*/ 0 h 171450"/>
                  <a:gd name="connsiteX1" fmla="*/ 18859 w 161925"/>
                  <a:gd name="connsiteY1" fmla="*/ 10192 h 171450"/>
                  <a:gd name="connsiteX2" fmla="*/ 1333 w 161925"/>
                  <a:gd name="connsiteY2" fmla="*/ 52007 h 171450"/>
                  <a:gd name="connsiteX3" fmla="*/ 57817 w 161925"/>
                  <a:gd name="connsiteY3" fmla="*/ 100489 h 171450"/>
                  <a:gd name="connsiteX4" fmla="*/ 80296 w 161925"/>
                  <a:gd name="connsiteY4" fmla="*/ 101441 h 171450"/>
                  <a:gd name="connsiteX5" fmla="*/ 103918 w 161925"/>
                  <a:gd name="connsiteY5" fmla="*/ 102394 h 171450"/>
                  <a:gd name="connsiteX6" fmla="*/ 126302 w 161925"/>
                  <a:gd name="connsiteY6" fmla="*/ 107061 h 171450"/>
                  <a:gd name="connsiteX7" fmla="*/ 130397 w 161925"/>
                  <a:gd name="connsiteY7" fmla="*/ 122682 h 171450"/>
                  <a:gd name="connsiteX8" fmla="*/ 124111 w 161925"/>
                  <a:gd name="connsiteY8" fmla="*/ 146304 h 171450"/>
                  <a:gd name="connsiteX9" fmla="*/ 78772 w 161925"/>
                  <a:gd name="connsiteY9" fmla="*/ 150876 h 171450"/>
                  <a:gd name="connsiteX10" fmla="*/ 39433 w 161925"/>
                  <a:gd name="connsiteY10" fmla="*/ 146399 h 171450"/>
                  <a:gd name="connsiteX11" fmla="*/ 33718 w 161925"/>
                  <a:gd name="connsiteY11" fmla="*/ 123825 h 171450"/>
                  <a:gd name="connsiteX12" fmla="*/ 33718 w 161925"/>
                  <a:gd name="connsiteY12" fmla="*/ 114300 h 171450"/>
                  <a:gd name="connsiteX13" fmla="*/ 0 w 161925"/>
                  <a:gd name="connsiteY13" fmla="*/ 114300 h 171450"/>
                  <a:gd name="connsiteX14" fmla="*/ 0 w 161925"/>
                  <a:gd name="connsiteY14" fmla="*/ 119920 h 171450"/>
                  <a:gd name="connsiteX15" fmla="*/ 0 w 161925"/>
                  <a:gd name="connsiteY15" fmla="*/ 127159 h 171450"/>
                  <a:gd name="connsiteX16" fmla="*/ 17050 w 161925"/>
                  <a:gd name="connsiteY16" fmla="*/ 167640 h 171450"/>
                  <a:gd name="connsiteX17" fmla="*/ 77914 w 161925"/>
                  <a:gd name="connsiteY17" fmla="*/ 177165 h 171450"/>
                  <a:gd name="connsiteX18" fmla="*/ 145637 w 161925"/>
                  <a:gd name="connsiteY18" fmla="*/ 167640 h 171450"/>
                  <a:gd name="connsiteX19" fmla="*/ 162973 w 161925"/>
                  <a:gd name="connsiteY19" fmla="*/ 123920 h 171450"/>
                  <a:gd name="connsiteX20" fmla="*/ 147923 w 161925"/>
                  <a:gd name="connsiteY20" fmla="*/ 83630 h 171450"/>
                  <a:gd name="connsiteX21" fmla="*/ 85344 w 161925"/>
                  <a:gd name="connsiteY21" fmla="*/ 73152 h 171450"/>
                  <a:gd name="connsiteX22" fmla="*/ 39433 w 161925"/>
                  <a:gd name="connsiteY22" fmla="*/ 67913 h 171450"/>
                  <a:gd name="connsiteX23" fmla="*/ 34290 w 161925"/>
                  <a:gd name="connsiteY23" fmla="*/ 48863 h 171450"/>
                  <a:gd name="connsiteX24" fmla="*/ 41529 w 161925"/>
                  <a:gd name="connsiteY24" fmla="*/ 31147 h 171450"/>
                  <a:gd name="connsiteX25" fmla="*/ 85154 w 161925"/>
                  <a:gd name="connsiteY25" fmla="*/ 26670 h 171450"/>
                  <a:gd name="connsiteX26" fmla="*/ 120396 w 161925"/>
                  <a:gd name="connsiteY26" fmla="*/ 31052 h 171450"/>
                  <a:gd name="connsiteX27" fmla="*/ 126016 w 161925"/>
                  <a:gd name="connsiteY27" fmla="*/ 51435 h 171450"/>
                  <a:gd name="connsiteX28" fmla="*/ 126016 w 161925"/>
                  <a:gd name="connsiteY28" fmla="*/ 56960 h 171450"/>
                  <a:gd name="connsiteX29" fmla="*/ 159639 w 161925"/>
                  <a:gd name="connsiteY29" fmla="*/ 56960 h 171450"/>
                  <a:gd name="connsiteX30" fmla="*/ 159639 w 161925"/>
                  <a:gd name="connsiteY30" fmla="*/ 51435 h 171450"/>
                  <a:gd name="connsiteX31" fmla="*/ 143351 w 161925"/>
                  <a:gd name="connsiteY31" fmla="*/ 9525 h 171450"/>
                  <a:gd name="connsiteX32" fmla="*/ 81534 w 161925"/>
                  <a:gd name="connsiteY32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61925" h="171450">
                    <a:moveTo>
                      <a:pt x="81248" y="0"/>
                    </a:moveTo>
                    <a:cubicBezTo>
                      <a:pt x="50197" y="0"/>
                      <a:pt x="29813" y="3334"/>
                      <a:pt x="18859" y="10192"/>
                    </a:cubicBezTo>
                    <a:cubicBezTo>
                      <a:pt x="7906" y="17050"/>
                      <a:pt x="1333" y="31528"/>
                      <a:pt x="1333" y="52007"/>
                    </a:cubicBezTo>
                    <a:cubicBezTo>
                      <a:pt x="1333" y="72485"/>
                      <a:pt x="10858" y="97917"/>
                      <a:pt x="57817" y="100489"/>
                    </a:cubicBezTo>
                    <a:lnTo>
                      <a:pt x="80296" y="101441"/>
                    </a:lnTo>
                    <a:lnTo>
                      <a:pt x="103918" y="102394"/>
                    </a:lnTo>
                    <a:cubicBezTo>
                      <a:pt x="111671" y="101835"/>
                      <a:pt x="119424" y="103451"/>
                      <a:pt x="126302" y="107061"/>
                    </a:cubicBezTo>
                    <a:cubicBezTo>
                      <a:pt x="129664" y="111530"/>
                      <a:pt x="131131" y="117139"/>
                      <a:pt x="130397" y="122682"/>
                    </a:cubicBezTo>
                    <a:cubicBezTo>
                      <a:pt x="130397" y="140018"/>
                      <a:pt x="126492" y="144875"/>
                      <a:pt x="124111" y="146304"/>
                    </a:cubicBezTo>
                    <a:cubicBezTo>
                      <a:pt x="121729" y="147733"/>
                      <a:pt x="111538" y="150876"/>
                      <a:pt x="78772" y="150876"/>
                    </a:cubicBezTo>
                    <a:cubicBezTo>
                      <a:pt x="50197" y="150876"/>
                      <a:pt x="42005" y="148114"/>
                      <a:pt x="39433" y="146399"/>
                    </a:cubicBezTo>
                    <a:cubicBezTo>
                      <a:pt x="36862" y="144685"/>
                      <a:pt x="33718" y="140303"/>
                      <a:pt x="33718" y="123825"/>
                    </a:cubicBezTo>
                    <a:lnTo>
                      <a:pt x="33718" y="114300"/>
                    </a:lnTo>
                    <a:lnTo>
                      <a:pt x="0" y="114300"/>
                    </a:lnTo>
                    <a:lnTo>
                      <a:pt x="0" y="119920"/>
                    </a:lnTo>
                    <a:lnTo>
                      <a:pt x="0" y="127159"/>
                    </a:lnTo>
                    <a:cubicBezTo>
                      <a:pt x="0" y="146971"/>
                      <a:pt x="5715" y="160687"/>
                      <a:pt x="17050" y="167640"/>
                    </a:cubicBezTo>
                    <a:cubicBezTo>
                      <a:pt x="28384" y="174593"/>
                      <a:pt x="47530" y="177165"/>
                      <a:pt x="77914" y="177165"/>
                    </a:cubicBezTo>
                    <a:cubicBezTo>
                      <a:pt x="112776" y="177165"/>
                      <a:pt x="135064" y="174022"/>
                      <a:pt x="145637" y="167640"/>
                    </a:cubicBezTo>
                    <a:cubicBezTo>
                      <a:pt x="156210" y="161258"/>
                      <a:pt x="162973" y="146018"/>
                      <a:pt x="162973" y="123920"/>
                    </a:cubicBezTo>
                    <a:cubicBezTo>
                      <a:pt x="162973" y="101822"/>
                      <a:pt x="157448" y="90107"/>
                      <a:pt x="147923" y="83630"/>
                    </a:cubicBezTo>
                    <a:cubicBezTo>
                      <a:pt x="138398" y="77153"/>
                      <a:pt x="118015" y="74105"/>
                      <a:pt x="85344" y="73152"/>
                    </a:cubicBezTo>
                    <a:cubicBezTo>
                      <a:pt x="52673" y="72200"/>
                      <a:pt x="42100" y="69342"/>
                      <a:pt x="39433" y="67913"/>
                    </a:cubicBezTo>
                    <a:cubicBezTo>
                      <a:pt x="36767" y="66485"/>
                      <a:pt x="34290" y="59150"/>
                      <a:pt x="34290" y="48863"/>
                    </a:cubicBezTo>
                    <a:cubicBezTo>
                      <a:pt x="34290" y="34766"/>
                      <a:pt x="39719" y="32099"/>
                      <a:pt x="41529" y="31147"/>
                    </a:cubicBezTo>
                    <a:cubicBezTo>
                      <a:pt x="45720" y="29051"/>
                      <a:pt x="56674" y="26670"/>
                      <a:pt x="85154" y="26670"/>
                    </a:cubicBezTo>
                    <a:cubicBezTo>
                      <a:pt x="109919" y="26670"/>
                      <a:pt x="117824" y="29432"/>
                      <a:pt x="120396" y="31052"/>
                    </a:cubicBezTo>
                    <a:cubicBezTo>
                      <a:pt x="122968" y="32671"/>
                      <a:pt x="126016" y="40577"/>
                      <a:pt x="126016" y="51435"/>
                    </a:cubicBezTo>
                    <a:lnTo>
                      <a:pt x="126016" y="56960"/>
                    </a:lnTo>
                    <a:lnTo>
                      <a:pt x="159639" y="56960"/>
                    </a:lnTo>
                    <a:lnTo>
                      <a:pt x="159639" y="51435"/>
                    </a:lnTo>
                    <a:cubicBezTo>
                      <a:pt x="159639" y="30480"/>
                      <a:pt x="154114" y="16383"/>
                      <a:pt x="143351" y="9525"/>
                    </a:cubicBezTo>
                    <a:cubicBezTo>
                      <a:pt x="132588" y="2667"/>
                      <a:pt x="112966" y="0"/>
                      <a:pt x="81534" y="0"/>
                    </a:cubicBez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0" name="Freihandform: Form 12">
                <a:extLst>
                  <a:ext uri="{FF2B5EF4-FFF2-40B4-BE49-F238E27FC236}">
                    <a16:creationId xmlns:a16="http://schemas.microsoft.com/office/drawing/2014/main" xmlns="" id="{F7E1ABDF-6DDB-4851-B4DA-4295735DC1A0}"/>
                  </a:ext>
                </a:extLst>
              </p:cNvPr>
              <p:cNvSpPr/>
              <p:nvPr userDrawn="1"/>
            </p:nvSpPr>
            <p:spPr>
              <a:xfrm>
                <a:off x="9420775" y="901487"/>
                <a:ext cx="638175" cy="619125"/>
              </a:xfrm>
              <a:custGeom>
                <a:avLst/>
                <a:gdLst>
                  <a:gd name="connsiteX0" fmla="*/ 320707 w 638175"/>
                  <a:gd name="connsiteY0" fmla="*/ 627697 h 619125"/>
                  <a:gd name="connsiteX1" fmla="*/ 0 w 638175"/>
                  <a:gd name="connsiteY1" fmla="*/ 306991 h 619125"/>
                  <a:gd name="connsiteX2" fmla="*/ 0 w 638175"/>
                  <a:gd name="connsiteY2" fmla="*/ 294704 h 619125"/>
                  <a:gd name="connsiteX3" fmla="*/ 265081 w 638175"/>
                  <a:gd name="connsiteY3" fmla="*/ 427577 h 619125"/>
                  <a:gd name="connsiteX4" fmla="*/ 265081 w 638175"/>
                  <a:gd name="connsiteY4" fmla="*/ 427577 h 619125"/>
                  <a:gd name="connsiteX5" fmla="*/ 319087 w 638175"/>
                  <a:gd name="connsiteY5" fmla="*/ 439293 h 619125"/>
                  <a:gd name="connsiteX6" fmla="*/ 450913 w 638175"/>
                  <a:gd name="connsiteY6" fmla="*/ 307467 h 619125"/>
                  <a:gd name="connsiteX7" fmla="*/ 450913 w 638175"/>
                  <a:gd name="connsiteY7" fmla="*/ 307277 h 619125"/>
                  <a:gd name="connsiteX8" fmla="*/ 449961 w 638175"/>
                  <a:gd name="connsiteY8" fmla="*/ 292703 h 619125"/>
                  <a:gd name="connsiteX9" fmla="*/ 449961 w 638175"/>
                  <a:gd name="connsiteY9" fmla="*/ 290894 h 619125"/>
                  <a:gd name="connsiteX10" fmla="*/ 413385 w 638175"/>
                  <a:gd name="connsiteY10" fmla="*/ 0 h 619125"/>
                  <a:gd name="connsiteX11" fmla="*/ 627588 w 638175"/>
                  <a:gd name="connsiteY11" fmla="*/ 399779 h 619125"/>
                  <a:gd name="connsiteX12" fmla="*/ 320707 w 638175"/>
                  <a:gd name="connsiteY12" fmla="*/ 627697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38175" h="619125">
                    <a:moveTo>
                      <a:pt x="320707" y="627697"/>
                    </a:moveTo>
                    <a:cubicBezTo>
                      <a:pt x="143672" y="627488"/>
                      <a:pt x="210" y="484025"/>
                      <a:pt x="0" y="306991"/>
                    </a:cubicBezTo>
                    <a:cubicBezTo>
                      <a:pt x="0" y="302895"/>
                      <a:pt x="0" y="298799"/>
                      <a:pt x="0" y="294704"/>
                    </a:cubicBezTo>
                    <a:lnTo>
                      <a:pt x="265081" y="427577"/>
                    </a:lnTo>
                    <a:lnTo>
                      <a:pt x="265081" y="427577"/>
                    </a:lnTo>
                    <a:cubicBezTo>
                      <a:pt x="282036" y="435305"/>
                      <a:pt x="300454" y="439300"/>
                      <a:pt x="319087" y="439293"/>
                    </a:cubicBezTo>
                    <a:cubicBezTo>
                      <a:pt x="391893" y="439293"/>
                      <a:pt x="450913" y="380272"/>
                      <a:pt x="450913" y="307467"/>
                    </a:cubicBezTo>
                    <a:cubicBezTo>
                      <a:pt x="450913" y="307403"/>
                      <a:pt x="450913" y="307340"/>
                      <a:pt x="450913" y="307277"/>
                    </a:cubicBezTo>
                    <a:cubicBezTo>
                      <a:pt x="450878" y="302404"/>
                      <a:pt x="450560" y="297538"/>
                      <a:pt x="449961" y="292703"/>
                    </a:cubicBezTo>
                    <a:lnTo>
                      <a:pt x="449961" y="290894"/>
                    </a:lnTo>
                    <a:lnTo>
                      <a:pt x="413385" y="0"/>
                    </a:lnTo>
                    <a:cubicBezTo>
                      <a:pt x="582931" y="51245"/>
                      <a:pt x="678833" y="230232"/>
                      <a:pt x="627588" y="399779"/>
                    </a:cubicBezTo>
                    <a:cubicBezTo>
                      <a:pt x="586695" y="535075"/>
                      <a:pt x="462048" y="627650"/>
                      <a:pt x="320707" y="627697"/>
                    </a:cubicBezTo>
                    <a:close/>
                  </a:path>
                </a:pathLst>
              </a:custGeom>
              <a:solidFill>
                <a:srgbClr val="8E969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: Form 14">
                <a:extLst>
                  <a:ext uri="{FF2B5EF4-FFF2-40B4-BE49-F238E27FC236}">
                    <a16:creationId xmlns:a16="http://schemas.microsoft.com/office/drawing/2014/main" xmlns="" id="{9157284D-8B3C-486F-8C61-8BB4FA8FE9AA}"/>
                  </a:ext>
                </a:extLst>
              </p:cNvPr>
              <p:cNvSpPr/>
              <p:nvPr userDrawn="1"/>
            </p:nvSpPr>
            <p:spPr>
              <a:xfrm>
                <a:off x="9429157" y="887675"/>
                <a:ext cx="361950" cy="333375"/>
              </a:xfrm>
              <a:custGeom>
                <a:avLst/>
                <a:gdLst>
                  <a:gd name="connsiteX0" fmla="*/ 0 w 361950"/>
                  <a:gd name="connsiteY0" fmla="*/ 247270 h 333375"/>
                  <a:gd name="connsiteX1" fmla="*/ 311182 w 361950"/>
                  <a:gd name="connsiteY1" fmla="*/ 1 h 333375"/>
                  <a:gd name="connsiteX2" fmla="*/ 338519 w 361950"/>
                  <a:gd name="connsiteY2" fmla="*/ 1144 h 333375"/>
                  <a:gd name="connsiteX3" fmla="*/ 363665 w 361950"/>
                  <a:gd name="connsiteY3" fmla="*/ 200597 h 333375"/>
                  <a:gd name="connsiteX4" fmla="*/ 310896 w 361950"/>
                  <a:gd name="connsiteY4" fmla="*/ 189453 h 333375"/>
                  <a:gd name="connsiteX5" fmla="*/ 179261 w 361950"/>
                  <a:gd name="connsiteY5" fmla="*/ 321088 h 333375"/>
                  <a:gd name="connsiteX6" fmla="*/ 180499 w 361950"/>
                  <a:gd name="connsiteY6" fmla="*/ 337567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61950" h="333375">
                    <a:moveTo>
                      <a:pt x="0" y="247270"/>
                    </a:moveTo>
                    <a:cubicBezTo>
                      <a:pt x="33334" y="102340"/>
                      <a:pt x="162469" y="-272"/>
                      <a:pt x="311182" y="1"/>
                    </a:cubicBezTo>
                    <a:cubicBezTo>
                      <a:pt x="320707" y="1"/>
                      <a:pt x="329470" y="1"/>
                      <a:pt x="338519" y="1144"/>
                    </a:cubicBezTo>
                    <a:lnTo>
                      <a:pt x="363665" y="200597"/>
                    </a:lnTo>
                    <a:cubicBezTo>
                      <a:pt x="347043" y="193246"/>
                      <a:pt x="329070" y="189450"/>
                      <a:pt x="310896" y="189453"/>
                    </a:cubicBezTo>
                    <a:cubicBezTo>
                      <a:pt x="238239" y="189558"/>
                      <a:pt x="179365" y="248432"/>
                      <a:pt x="179261" y="321088"/>
                    </a:cubicBezTo>
                    <a:cubicBezTo>
                      <a:pt x="179306" y="326602"/>
                      <a:pt x="179720" y="332108"/>
                      <a:pt x="180499" y="337567"/>
                    </a:cubicBezTo>
                    <a:close/>
                  </a:path>
                </a:pathLst>
              </a:custGeom>
              <a:solidFill>
                <a:srgbClr val="A72B3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cxnSp>
        <p:nvCxnSpPr>
          <p:cNvPr id="47" name="Gerade Verbindung 46"/>
          <p:cNvCxnSpPr/>
          <p:nvPr/>
        </p:nvCxnSpPr>
        <p:spPr>
          <a:xfrm>
            <a:off x="334963" y="3096219"/>
            <a:ext cx="1008062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/>
        </p:nvCxnSpPr>
        <p:spPr>
          <a:xfrm>
            <a:off x="334963" y="4248174"/>
            <a:ext cx="100806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/>
        </p:nvCxnSpPr>
        <p:spPr>
          <a:xfrm>
            <a:off x="334963" y="5400129"/>
            <a:ext cx="100806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>
          <a:xfrm>
            <a:off x="334963" y="6552085"/>
            <a:ext cx="1008062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98"/>
          <p:cNvCxnSpPr/>
          <p:nvPr/>
        </p:nvCxnSpPr>
        <p:spPr>
          <a:xfrm>
            <a:off x="2580243" y="2726501"/>
            <a:ext cx="783534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4596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42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000" b="1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pic>
        <p:nvPicPr>
          <p:cNvPr id="164875" name="Picture 11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62" b="5462"/>
          <a:stretch/>
        </p:blipFill>
        <p:spPr bwMode="auto">
          <a:xfrm>
            <a:off x="0" y="4445251"/>
            <a:ext cx="4063834" cy="241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4876" name="Picture 1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62" b="5462"/>
          <a:stretch/>
        </p:blipFill>
        <p:spPr bwMode="auto">
          <a:xfrm>
            <a:off x="4063834" y="4445251"/>
            <a:ext cx="4067222" cy="241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4877" name="Picture 13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62" b="5462"/>
          <a:stretch/>
        </p:blipFill>
        <p:spPr bwMode="auto">
          <a:xfrm>
            <a:off x="8131055" y="4445251"/>
            <a:ext cx="4060945" cy="241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6C8317FC-2CDE-4E4E-9F28-0DAE36D42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62F75-52E4-4E2C-B34F-A32CE8B1CC48}" type="slidenum">
              <a:rPr lang="en-US" smtClean="0">
                <a:solidFill>
                  <a:schemeClr val="bg1"/>
                </a:solidFill>
              </a:rPr>
              <a:pPr/>
              <a:t>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0EBEFA5-F512-4CDD-B298-CA0F025A9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89455"/>
            <a:ext cx="11522075" cy="438582"/>
          </a:xfrm>
        </p:spPr>
        <p:txBody>
          <a:bodyPr/>
          <a:lstStyle/>
          <a:p>
            <a:r>
              <a:rPr lang="en-US" dirty="0"/>
              <a:t>Dialogue forum construction – Why?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A7F8CF9D-5F32-497B-8567-292EE691BD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1923733"/>
            <a:ext cx="8640762" cy="2077492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en-US" dirty="0"/>
              <a:t>Large number of regulations (voluntary and mandatory) in the area of construction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Strong criticism and complaints about very complicated application of regulatory and normative documents in that area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Lack of an overview about interlinks between national law, European directives, ordinances and standards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The target was to simplify the whole complex of the documents</a:t>
            </a:r>
          </a:p>
        </p:txBody>
      </p:sp>
    </p:spTree>
    <p:extLst>
      <p:ext uri="{BB962C8B-B14F-4D97-AF65-F5344CB8AC3E}">
        <p14:creationId xmlns:p14="http://schemas.microsoft.com/office/powerpoint/2010/main" val="305258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929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000" b="1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pic>
        <p:nvPicPr>
          <p:cNvPr id="165898" name="Picture 10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6" t="6889" r="5076" b="10152"/>
          <a:stretch/>
        </p:blipFill>
        <p:spPr bwMode="auto">
          <a:xfrm>
            <a:off x="0" y="4445251"/>
            <a:ext cx="3930205" cy="241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5900" name="Picture 1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67"/>
          <a:stretch/>
        </p:blipFill>
        <p:spPr bwMode="auto">
          <a:xfrm>
            <a:off x="3930205" y="4445251"/>
            <a:ext cx="3920026" cy="241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xmlns="" id="{63DDA7EE-5A7B-443E-8787-24A0CF75031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834" b="3834"/>
          <a:stretch/>
        </p:blipFill>
        <p:spPr>
          <a:xfrm>
            <a:off x="7850232" y="4445251"/>
            <a:ext cx="4341768" cy="241275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93EDA4F4-0DB4-49FE-AB9F-CEB520031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62F75-52E4-4E2C-B34F-A32CE8B1CC48}" type="slidenum">
              <a:rPr lang="en-US" smtClean="0">
                <a:solidFill>
                  <a:schemeClr val="bg1"/>
                </a:solidFill>
              </a:rPr>
              <a:pPr/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B2CA7F8-7D96-4D3A-B073-2234A0E5FE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824963"/>
            <a:ext cx="11522075" cy="438582"/>
          </a:xfrm>
        </p:spPr>
        <p:txBody>
          <a:bodyPr/>
          <a:lstStyle/>
          <a:p>
            <a:r>
              <a:rPr lang="en-US" dirty="0"/>
              <a:t>Dialogue forum construc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4DBD222C-124F-4A57-8F74-2DB0718C6C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923733"/>
            <a:ext cx="10080626" cy="1461939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en-US" dirty="0"/>
              <a:t>Initiated at the beginning of 2016 by Austrian Standards and Chamber of Commerce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400 persons from all areas of construction sector active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New and open process of participation (free of charge)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Managed and chaired by an independent expert</a:t>
            </a:r>
          </a:p>
        </p:txBody>
      </p:sp>
      <p:grpSp>
        <p:nvGrpSpPr>
          <p:cNvPr id="17" name="Gruppieren 16"/>
          <p:cNvGrpSpPr>
            <a:grpSpLocks noChangeAspect="1"/>
          </p:cNvGrpSpPr>
          <p:nvPr/>
        </p:nvGrpSpPr>
        <p:grpSpPr>
          <a:xfrm>
            <a:off x="10413285" y="1980085"/>
            <a:ext cx="1440000" cy="363418"/>
            <a:chOff x="9420775" y="887675"/>
            <a:chExt cx="2507933" cy="632937"/>
          </a:xfrm>
        </p:grpSpPr>
        <p:sp>
          <p:nvSpPr>
            <p:cNvPr id="18" name="Freihandform: Form 4">
              <a:extLst>
                <a:ext uri="{FF2B5EF4-FFF2-40B4-BE49-F238E27FC236}">
                  <a16:creationId xmlns:a16="http://schemas.microsoft.com/office/drawing/2014/main" xmlns="" id="{F0A378DA-9BFD-4E3B-B25C-70EF1AA051D4}"/>
                </a:ext>
              </a:extLst>
            </p:cNvPr>
            <p:cNvSpPr/>
            <p:nvPr/>
          </p:nvSpPr>
          <p:spPr>
            <a:xfrm>
              <a:off x="10201730" y="988069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0 w 190500"/>
                <a:gd name="connsiteY2" fmla="*/ 12097 h 200025"/>
                <a:gd name="connsiteX3" fmla="*/ 0 w 190500"/>
                <a:gd name="connsiteY3" fmla="*/ 62675 h 200025"/>
                <a:gd name="connsiteX4" fmla="*/ 0 w 190500"/>
                <a:gd name="connsiteY4" fmla="*/ 204406 h 200025"/>
                <a:gd name="connsiteX5" fmla="*/ 28575 w 190500"/>
                <a:gd name="connsiteY5" fmla="*/ 204406 h 200025"/>
                <a:gd name="connsiteX6" fmla="*/ 28575 w 190500"/>
                <a:gd name="connsiteY6" fmla="*/ 135541 h 200025"/>
                <a:gd name="connsiteX7" fmla="*/ 169926 w 190500"/>
                <a:gd name="connsiteY7" fmla="*/ 135541 h 200025"/>
                <a:gd name="connsiteX8" fmla="*/ 169926 w 190500"/>
                <a:gd name="connsiteY8" fmla="*/ 204406 h 200025"/>
                <a:gd name="connsiteX9" fmla="*/ 198501 w 190500"/>
                <a:gd name="connsiteY9" fmla="*/ 204406 h 200025"/>
                <a:gd name="connsiteX10" fmla="*/ 198501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6 w 190500"/>
                <a:gd name="connsiteY15" fmla="*/ 19336 h 200025"/>
                <a:gd name="connsiteX16" fmla="*/ 158496 w 190500"/>
                <a:gd name="connsiteY16" fmla="*/ 26670 h 200025"/>
                <a:gd name="connsiteX17" fmla="*/ 169926 w 190500"/>
                <a:gd name="connsiteY17" fmla="*/ 62675 h 200025"/>
                <a:gd name="connsiteX18" fmla="*/ 169926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3" y="0"/>
                    <a:pt x="99346" y="0"/>
                  </a:cubicBezTo>
                  <a:cubicBezTo>
                    <a:pt x="58579" y="0"/>
                    <a:pt x="31814" y="4032"/>
                    <a:pt x="19050" y="12097"/>
                  </a:cubicBezTo>
                  <a:cubicBezTo>
                    <a:pt x="6287" y="20162"/>
                    <a:pt x="-63" y="37021"/>
                    <a:pt x="0" y="62675"/>
                  </a:cubicBezTo>
                  <a:lnTo>
                    <a:pt x="0" y="204406"/>
                  </a:lnTo>
                  <a:lnTo>
                    <a:pt x="28575" y="204406"/>
                  </a:lnTo>
                  <a:lnTo>
                    <a:pt x="28575" y="135541"/>
                  </a:lnTo>
                  <a:lnTo>
                    <a:pt x="169926" y="135541"/>
                  </a:lnTo>
                  <a:lnTo>
                    <a:pt x="169926" y="204406"/>
                  </a:lnTo>
                  <a:lnTo>
                    <a:pt x="198501" y="204406"/>
                  </a:lnTo>
                  <a:lnTo>
                    <a:pt x="198501" y="55912"/>
                  </a:lnTo>
                  <a:cubicBezTo>
                    <a:pt x="198054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31" y="31559"/>
                    <a:pt x="40196" y="26479"/>
                  </a:cubicBezTo>
                  <a:cubicBezTo>
                    <a:pt x="48261" y="21400"/>
                    <a:pt x="68644" y="19019"/>
                    <a:pt x="101346" y="19336"/>
                  </a:cubicBezTo>
                  <a:cubicBezTo>
                    <a:pt x="131509" y="19336"/>
                    <a:pt x="150559" y="21781"/>
                    <a:pt x="158496" y="26670"/>
                  </a:cubicBezTo>
                  <a:cubicBezTo>
                    <a:pt x="166434" y="31559"/>
                    <a:pt x="170241" y="43561"/>
                    <a:pt x="169926" y="62675"/>
                  </a:cubicBezTo>
                  <a:lnTo>
                    <a:pt x="169926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ihandform: Form 5">
              <a:extLst>
                <a:ext uri="{FF2B5EF4-FFF2-40B4-BE49-F238E27FC236}">
                  <a16:creationId xmlns:a16="http://schemas.microsoft.com/office/drawing/2014/main" xmlns="" id="{36175C06-90AF-455A-9EE9-317FCF314CA1}"/>
                </a:ext>
              </a:extLst>
            </p:cNvPr>
            <p:cNvSpPr/>
            <p:nvPr/>
          </p:nvSpPr>
          <p:spPr>
            <a:xfrm>
              <a:off x="10442235" y="990355"/>
              <a:ext cx="190500" cy="200025"/>
            </a:xfrm>
            <a:custGeom>
              <a:avLst/>
              <a:gdLst>
                <a:gd name="connsiteX0" fmla="*/ 169261 w 190500"/>
                <a:gd name="connsiteY0" fmla="*/ 0 h 200025"/>
                <a:gd name="connsiteX1" fmla="*/ 197836 w 190500"/>
                <a:gd name="connsiteY1" fmla="*/ 0 h 200025"/>
                <a:gd name="connsiteX2" fmla="*/ 197836 w 190500"/>
                <a:gd name="connsiteY2" fmla="*/ 141637 h 200025"/>
                <a:gd name="connsiteX3" fmla="*/ 178786 w 190500"/>
                <a:gd name="connsiteY3" fmla="*/ 192310 h 200025"/>
                <a:gd name="connsiteX4" fmla="*/ 98490 w 190500"/>
                <a:gd name="connsiteY4" fmla="*/ 204407 h 200025"/>
                <a:gd name="connsiteX5" fmla="*/ 20576 w 190500"/>
                <a:gd name="connsiteY5" fmla="*/ 192786 h 200025"/>
                <a:gd name="connsiteX6" fmla="*/ 2 w 190500"/>
                <a:gd name="connsiteY6" fmla="*/ 148495 h 200025"/>
                <a:gd name="connsiteX7" fmla="*/ 2 w 190500"/>
                <a:gd name="connsiteY7" fmla="*/ 0 h 200025"/>
                <a:gd name="connsiteX8" fmla="*/ 28577 w 190500"/>
                <a:gd name="connsiteY8" fmla="*/ 0 h 200025"/>
                <a:gd name="connsiteX9" fmla="*/ 28577 w 190500"/>
                <a:gd name="connsiteY9" fmla="*/ 141637 h 200025"/>
                <a:gd name="connsiteX10" fmla="*/ 40102 w 190500"/>
                <a:gd name="connsiteY10" fmla="*/ 177737 h 200025"/>
                <a:gd name="connsiteX11" fmla="*/ 97252 w 190500"/>
                <a:gd name="connsiteY11" fmla="*/ 185071 h 200025"/>
                <a:gd name="connsiteX12" fmla="*/ 158402 w 190500"/>
                <a:gd name="connsiteY12" fmla="*/ 177927 h 200025"/>
                <a:gd name="connsiteX13" fmla="*/ 170499 w 190500"/>
                <a:gd name="connsiteY13" fmla="*/ 14163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0500" h="200025">
                  <a:moveTo>
                    <a:pt x="169261" y="0"/>
                  </a:moveTo>
                  <a:lnTo>
                    <a:pt x="197836" y="0"/>
                  </a:lnTo>
                  <a:lnTo>
                    <a:pt x="197836" y="141637"/>
                  </a:lnTo>
                  <a:cubicBezTo>
                    <a:pt x="197836" y="167037"/>
                    <a:pt x="191483" y="183928"/>
                    <a:pt x="178786" y="192310"/>
                  </a:cubicBezTo>
                  <a:cubicBezTo>
                    <a:pt x="166089" y="200692"/>
                    <a:pt x="139324" y="204724"/>
                    <a:pt x="98490" y="204407"/>
                  </a:cubicBezTo>
                  <a:cubicBezTo>
                    <a:pt x="60390" y="204407"/>
                    <a:pt x="34415" y="200533"/>
                    <a:pt x="20576" y="192786"/>
                  </a:cubicBezTo>
                  <a:cubicBezTo>
                    <a:pt x="6736" y="185039"/>
                    <a:pt x="-122" y="170276"/>
                    <a:pt x="2" y="148495"/>
                  </a:cubicBezTo>
                  <a:lnTo>
                    <a:pt x="2" y="0"/>
                  </a:lnTo>
                  <a:lnTo>
                    <a:pt x="28577" y="0"/>
                  </a:lnTo>
                  <a:lnTo>
                    <a:pt x="28577" y="141637"/>
                  </a:lnTo>
                  <a:cubicBezTo>
                    <a:pt x="28577" y="160687"/>
                    <a:pt x="32415" y="172720"/>
                    <a:pt x="40102" y="177737"/>
                  </a:cubicBezTo>
                  <a:cubicBezTo>
                    <a:pt x="47789" y="182753"/>
                    <a:pt x="66839" y="185197"/>
                    <a:pt x="97252" y="185071"/>
                  </a:cubicBezTo>
                  <a:cubicBezTo>
                    <a:pt x="129951" y="185071"/>
                    <a:pt x="150335" y="182690"/>
                    <a:pt x="158402" y="177927"/>
                  </a:cubicBezTo>
                  <a:cubicBezTo>
                    <a:pt x="166470" y="173165"/>
                    <a:pt x="170499" y="161068"/>
                    <a:pt x="170499" y="141637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ihandform: Form 6">
              <a:extLst>
                <a:ext uri="{FF2B5EF4-FFF2-40B4-BE49-F238E27FC236}">
                  <a16:creationId xmlns:a16="http://schemas.microsoft.com/office/drawing/2014/main" xmlns="" id="{8EAF6066-95EA-495F-884D-A50C1F01CD07}"/>
                </a:ext>
              </a:extLst>
            </p:cNvPr>
            <p:cNvSpPr/>
            <p:nvPr/>
          </p:nvSpPr>
          <p:spPr>
            <a:xfrm>
              <a:off x="10674551" y="988259"/>
              <a:ext cx="180975" cy="200025"/>
            </a:xfrm>
            <a:custGeom>
              <a:avLst/>
              <a:gdLst>
                <a:gd name="connsiteX0" fmla="*/ 184023 w 180975"/>
                <a:gd name="connsiteY0" fmla="*/ 56959 h 200025"/>
                <a:gd name="connsiteX1" fmla="*/ 156019 w 180975"/>
                <a:gd name="connsiteY1" fmla="*/ 56959 h 200025"/>
                <a:gd name="connsiteX2" fmla="*/ 145923 w 180975"/>
                <a:gd name="connsiteY2" fmla="*/ 25908 h 200025"/>
                <a:gd name="connsiteX3" fmla="*/ 98298 w 180975"/>
                <a:gd name="connsiteY3" fmla="*/ 19336 h 200025"/>
                <a:gd name="connsiteX4" fmla="*/ 41148 w 180975"/>
                <a:gd name="connsiteY4" fmla="*/ 25622 h 200025"/>
                <a:gd name="connsiteX5" fmla="*/ 28289 w 180975"/>
                <a:gd name="connsiteY5" fmla="*/ 53721 h 200025"/>
                <a:gd name="connsiteX6" fmla="*/ 38386 w 180975"/>
                <a:gd name="connsiteY6" fmla="*/ 83534 h 200025"/>
                <a:gd name="connsiteX7" fmla="*/ 98298 w 180975"/>
                <a:gd name="connsiteY7" fmla="*/ 90773 h 200025"/>
                <a:gd name="connsiteX8" fmla="*/ 172593 w 180975"/>
                <a:gd name="connsiteY8" fmla="*/ 102775 h 200025"/>
                <a:gd name="connsiteX9" fmla="*/ 188404 w 180975"/>
                <a:gd name="connsiteY9" fmla="*/ 147257 h 200025"/>
                <a:gd name="connsiteX10" fmla="*/ 170212 w 180975"/>
                <a:gd name="connsiteY10" fmla="*/ 195548 h 200025"/>
                <a:gd name="connsiteX11" fmla="*/ 89725 w 180975"/>
                <a:gd name="connsiteY11" fmla="*/ 206502 h 200025"/>
                <a:gd name="connsiteX12" fmla="*/ 17907 w 180975"/>
                <a:gd name="connsiteY12" fmla="*/ 195453 h 200025"/>
                <a:gd name="connsiteX13" fmla="*/ 0 w 180975"/>
                <a:gd name="connsiteY13" fmla="*/ 150876 h 200025"/>
                <a:gd name="connsiteX14" fmla="*/ 0 w 180975"/>
                <a:gd name="connsiteY14" fmla="*/ 141827 h 200025"/>
                <a:gd name="connsiteX15" fmla="*/ 28004 w 180975"/>
                <a:gd name="connsiteY15" fmla="*/ 141827 h 200025"/>
                <a:gd name="connsiteX16" fmla="*/ 28004 w 180975"/>
                <a:gd name="connsiteY16" fmla="*/ 146876 h 200025"/>
                <a:gd name="connsiteX17" fmla="*/ 38291 w 180975"/>
                <a:gd name="connsiteY17" fmla="*/ 180594 h 200025"/>
                <a:gd name="connsiteX18" fmla="*/ 90868 w 180975"/>
                <a:gd name="connsiteY18" fmla="*/ 187166 h 200025"/>
                <a:gd name="connsiteX19" fmla="*/ 150590 w 180975"/>
                <a:gd name="connsiteY19" fmla="*/ 180594 h 200025"/>
                <a:gd name="connsiteX20" fmla="*/ 161734 w 180975"/>
                <a:gd name="connsiteY20" fmla="*/ 145352 h 200025"/>
                <a:gd name="connsiteX21" fmla="*/ 154114 w 180975"/>
                <a:gd name="connsiteY21" fmla="*/ 120682 h 200025"/>
                <a:gd name="connsiteX22" fmla="*/ 122396 w 180975"/>
                <a:gd name="connsiteY22" fmla="*/ 113348 h 200025"/>
                <a:gd name="connsiteX23" fmla="*/ 93059 w 180975"/>
                <a:gd name="connsiteY23" fmla="*/ 112205 h 200025"/>
                <a:gd name="connsiteX24" fmla="*/ 65246 w 180975"/>
                <a:gd name="connsiteY24" fmla="*/ 111062 h 200025"/>
                <a:gd name="connsiteX25" fmla="*/ 1905 w 180975"/>
                <a:gd name="connsiteY25" fmla="*/ 57626 h 200025"/>
                <a:gd name="connsiteX26" fmla="*/ 20383 w 180975"/>
                <a:gd name="connsiteY26" fmla="*/ 11525 h 200025"/>
                <a:gd name="connsiteX27" fmla="*/ 94202 w 180975"/>
                <a:gd name="connsiteY27" fmla="*/ 0 h 200025"/>
                <a:gd name="connsiteX28" fmla="*/ 167259 w 180975"/>
                <a:gd name="connsiteY28" fmla="*/ 10763 h 200025"/>
                <a:gd name="connsiteX29" fmla="*/ 184023 w 180975"/>
                <a:gd name="connsiteY29" fmla="*/ 5695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0975" h="200025">
                  <a:moveTo>
                    <a:pt x="184023" y="56959"/>
                  </a:moveTo>
                  <a:lnTo>
                    <a:pt x="156019" y="56959"/>
                  </a:lnTo>
                  <a:cubicBezTo>
                    <a:pt x="156019" y="40640"/>
                    <a:pt x="152657" y="30290"/>
                    <a:pt x="145923" y="25908"/>
                  </a:cubicBezTo>
                  <a:cubicBezTo>
                    <a:pt x="139189" y="21527"/>
                    <a:pt x="123320" y="19336"/>
                    <a:pt x="98298" y="19336"/>
                  </a:cubicBezTo>
                  <a:cubicBezTo>
                    <a:pt x="68771" y="19336"/>
                    <a:pt x="49721" y="21431"/>
                    <a:pt x="41148" y="25622"/>
                  </a:cubicBezTo>
                  <a:cubicBezTo>
                    <a:pt x="32575" y="29813"/>
                    <a:pt x="28289" y="39179"/>
                    <a:pt x="28289" y="53721"/>
                  </a:cubicBezTo>
                  <a:cubicBezTo>
                    <a:pt x="28289" y="70040"/>
                    <a:pt x="31652" y="79979"/>
                    <a:pt x="38386" y="83534"/>
                  </a:cubicBezTo>
                  <a:cubicBezTo>
                    <a:pt x="45120" y="87090"/>
                    <a:pt x="65084" y="89504"/>
                    <a:pt x="98298" y="90773"/>
                  </a:cubicBezTo>
                  <a:cubicBezTo>
                    <a:pt x="137227" y="92171"/>
                    <a:pt x="161992" y="96171"/>
                    <a:pt x="172593" y="102775"/>
                  </a:cubicBezTo>
                  <a:cubicBezTo>
                    <a:pt x="183194" y="109378"/>
                    <a:pt x="188471" y="124206"/>
                    <a:pt x="188404" y="147257"/>
                  </a:cubicBezTo>
                  <a:cubicBezTo>
                    <a:pt x="188404" y="172148"/>
                    <a:pt x="182337" y="188245"/>
                    <a:pt x="170212" y="195548"/>
                  </a:cubicBezTo>
                  <a:cubicBezTo>
                    <a:pt x="158086" y="202851"/>
                    <a:pt x="131254" y="206502"/>
                    <a:pt x="89725" y="206502"/>
                  </a:cubicBezTo>
                  <a:cubicBezTo>
                    <a:pt x="53721" y="206502"/>
                    <a:pt x="29785" y="202819"/>
                    <a:pt x="17907" y="195453"/>
                  </a:cubicBezTo>
                  <a:cubicBezTo>
                    <a:pt x="6029" y="188087"/>
                    <a:pt x="67" y="173228"/>
                    <a:pt x="0" y="150876"/>
                  </a:cubicBezTo>
                  <a:lnTo>
                    <a:pt x="0" y="141827"/>
                  </a:lnTo>
                  <a:lnTo>
                    <a:pt x="28004" y="141827"/>
                  </a:lnTo>
                  <a:lnTo>
                    <a:pt x="28004" y="146876"/>
                  </a:lnTo>
                  <a:cubicBezTo>
                    <a:pt x="28004" y="164973"/>
                    <a:pt x="31433" y="176213"/>
                    <a:pt x="38291" y="180594"/>
                  </a:cubicBezTo>
                  <a:cubicBezTo>
                    <a:pt x="45148" y="184976"/>
                    <a:pt x="62675" y="187166"/>
                    <a:pt x="90868" y="187166"/>
                  </a:cubicBezTo>
                  <a:cubicBezTo>
                    <a:pt x="123187" y="187166"/>
                    <a:pt x="143094" y="184976"/>
                    <a:pt x="150590" y="180594"/>
                  </a:cubicBezTo>
                  <a:cubicBezTo>
                    <a:pt x="158086" y="176213"/>
                    <a:pt x="161801" y="164465"/>
                    <a:pt x="161734" y="145352"/>
                  </a:cubicBezTo>
                  <a:cubicBezTo>
                    <a:pt x="162906" y="136411"/>
                    <a:pt x="160125" y="127403"/>
                    <a:pt x="154114" y="120682"/>
                  </a:cubicBezTo>
                  <a:cubicBezTo>
                    <a:pt x="144428" y="115347"/>
                    <a:pt x="133445" y="112807"/>
                    <a:pt x="122396" y="113348"/>
                  </a:cubicBezTo>
                  <a:lnTo>
                    <a:pt x="93059" y="112205"/>
                  </a:lnTo>
                  <a:lnTo>
                    <a:pt x="65246" y="111062"/>
                  </a:lnTo>
                  <a:cubicBezTo>
                    <a:pt x="23022" y="108585"/>
                    <a:pt x="1905" y="90773"/>
                    <a:pt x="1905" y="57626"/>
                  </a:cubicBezTo>
                  <a:cubicBezTo>
                    <a:pt x="1905" y="34576"/>
                    <a:pt x="8068" y="19209"/>
                    <a:pt x="20383" y="11525"/>
                  </a:cubicBezTo>
                  <a:cubicBezTo>
                    <a:pt x="32699" y="3841"/>
                    <a:pt x="57312" y="0"/>
                    <a:pt x="94202" y="0"/>
                  </a:cubicBezTo>
                  <a:cubicBezTo>
                    <a:pt x="131607" y="0"/>
                    <a:pt x="155953" y="3588"/>
                    <a:pt x="167259" y="10763"/>
                  </a:cubicBezTo>
                  <a:cubicBezTo>
                    <a:pt x="178565" y="17938"/>
                    <a:pt x="184147" y="33338"/>
                    <a:pt x="184023" y="56959"/>
                  </a:cubicBez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ihandform: Form 7">
              <a:extLst>
                <a:ext uri="{FF2B5EF4-FFF2-40B4-BE49-F238E27FC236}">
                  <a16:creationId xmlns:a16="http://schemas.microsoft.com/office/drawing/2014/main" xmlns="" id="{8125ED1F-7807-4B5D-8D67-057315FEB019}"/>
                </a:ext>
              </a:extLst>
            </p:cNvPr>
            <p:cNvSpPr/>
            <p:nvPr/>
          </p:nvSpPr>
          <p:spPr>
            <a:xfrm>
              <a:off x="10889626" y="990355"/>
              <a:ext cx="190500" cy="200025"/>
            </a:xfrm>
            <a:custGeom>
              <a:avLst/>
              <a:gdLst>
                <a:gd name="connsiteX0" fmla="*/ 110109 w 190500"/>
                <a:gd name="connsiteY0" fmla="*/ 21146 h 200025"/>
                <a:gd name="connsiteX1" fmla="*/ 110109 w 190500"/>
                <a:gd name="connsiteY1" fmla="*/ 202120 h 200025"/>
                <a:gd name="connsiteX2" fmla="*/ 81534 w 190500"/>
                <a:gd name="connsiteY2" fmla="*/ 202120 h 200025"/>
                <a:gd name="connsiteX3" fmla="*/ 81534 w 190500"/>
                <a:gd name="connsiteY3" fmla="*/ 21146 h 200025"/>
                <a:gd name="connsiteX4" fmla="*/ 0 w 190500"/>
                <a:gd name="connsiteY4" fmla="*/ 21146 h 200025"/>
                <a:gd name="connsiteX5" fmla="*/ 0 w 190500"/>
                <a:gd name="connsiteY5" fmla="*/ 0 h 200025"/>
                <a:gd name="connsiteX6" fmla="*/ 190500 w 190500"/>
                <a:gd name="connsiteY6" fmla="*/ 0 h 200025"/>
                <a:gd name="connsiteX7" fmla="*/ 190500 w 190500"/>
                <a:gd name="connsiteY7" fmla="*/ 21241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0500" h="200025">
                  <a:moveTo>
                    <a:pt x="110109" y="21146"/>
                  </a:moveTo>
                  <a:lnTo>
                    <a:pt x="110109" y="202120"/>
                  </a:lnTo>
                  <a:lnTo>
                    <a:pt x="81534" y="202120"/>
                  </a:lnTo>
                  <a:lnTo>
                    <a:pt x="81534" y="21146"/>
                  </a:lnTo>
                  <a:lnTo>
                    <a:pt x="0" y="21146"/>
                  </a:lnTo>
                  <a:lnTo>
                    <a:pt x="0" y="0"/>
                  </a:lnTo>
                  <a:lnTo>
                    <a:pt x="190500" y="0"/>
                  </a:lnTo>
                  <a:lnTo>
                    <a:pt x="190500" y="21241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ihandform: Form 8">
              <a:extLst>
                <a:ext uri="{FF2B5EF4-FFF2-40B4-BE49-F238E27FC236}">
                  <a16:creationId xmlns:a16="http://schemas.microsoft.com/office/drawing/2014/main" xmlns="" id="{9A3DADEB-EA6F-4603-9E2E-18E419B4CAF4}"/>
                </a:ext>
              </a:extLst>
            </p:cNvPr>
            <p:cNvSpPr/>
            <p:nvPr/>
          </p:nvSpPr>
          <p:spPr>
            <a:xfrm>
              <a:off x="11117464" y="990355"/>
              <a:ext cx="190500" cy="200025"/>
            </a:xfrm>
            <a:custGeom>
              <a:avLst/>
              <a:gdLst>
                <a:gd name="connsiteX0" fmla="*/ 0 w 190500"/>
                <a:gd name="connsiteY0" fmla="*/ 202311 h 200025"/>
                <a:gd name="connsiteX1" fmla="*/ 0 w 190500"/>
                <a:gd name="connsiteY1" fmla="*/ 0 h 200025"/>
                <a:gd name="connsiteX2" fmla="*/ 119063 w 190500"/>
                <a:gd name="connsiteY2" fmla="*/ 0 h 200025"/>
                <a:gd name="connsiteX3" fmla="*/ 176213 w 190500"/>
                <a:gd name="connsiteY3" fmla="*/ 12954 h 200025"/>
                <a:gd name="connsiteX4" fmla="*/ 192691 w 190500"/>
                <a:gd name="connsiteY4" fmla="*/ 57722 h 200025"/>
                <a:gd name="connsiteX5" fmla="*/ 183166 w 190500"/>
                <a:gd name="connsiteY5" fmla="*/ 99155 h 200025"/>
                <a:gd name="connsiteX6" fmla="*/ 147447 w 190500"/>
                <a:gd name="connsiteY6" fmla="*/ 119348 h 200025"/>
                <a:gd name="connsiteX7" fmla="*/ 195072 w 190500"/>
                <a:gd name="connsiteY7" fmla="*/ 202406 h 200025"/>
                <a:gd name="connsiteX8" fmla="*/ 166497 w 190500"/>
                <a:gd name="connsiteY8" fmla="*/ 202406 h 200025"/>
                <a:gd name="connsiteX9" fmla="*/ 117538 w 190500"/>
                <a:gd name="connsiteY9" fmla="*/ 120396 h 200025"/>
                <a:gd name="connsiteX10" fmla="*/ 28575 w 190500"/>
                <a:gd name="connsiteY10" fmla="*/ 120396 h 200025"/>
                <a:gd name="connsiteX11" fmla="*/ 28575 w 190500"/>
                <a:gd name="connsiteY11" fmla="*/ 202406 h 200025"/>
                <a:gd name="connsiteX12" fmla="*/ 28575 w 190500"/>
                <a:gd name="connsiteY12" fmla="*/ 101060 h 200025"/>
                <a:gd name="connsiteX13" fmla="*/ 110109 w 190500"/>
                <a:gd name="connsiteY13" fmla="*/ 101060 h 200025"/>
                <a:gd name="connsiteX14" fmla="*/ 154114 w 190500"/>
                <a:gd name="connsiteY14" fmla="*/ 93155 h 200025"/>
                <a:gd name="connsiteX15" fmla="*/ 165830 w 190500"/>
                <a:gd name="connsiteY15" fmla="*/ 63341 h 200025"/>
                <a:gd name="connsiteX16" fmla="*/ 157163 w 190500"/>
                <a:gd name="connsiteY16" fmla="*/ 27623 h 200025"/>
                <a:gd name="connsiteX17" fmla="*/ 119348 w 190500"/>
                <a:gd name="connsiteY17" fmla="*/ 19526 h 200025"/>
                <a:gd name="connsiteX18" fmla="*/ 28194 w 190500"/>
                <a:gd name="connsiteY18" fmla="*/ 19526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0" y="202311"/>
                  </a:moveTo>
                  <a:lnTo>
                    <a:pt x="0" y="0"/>
                  </a:lnTo>
                  <a:lnTo>
                    <a:pt x="119063" y="0"/>
                  </a:lnTo>
                  <a:cubicBezTo>
                    <a:pt x="145923" y="0"/>
                    <a:pt x="164973" y="4318"/>
                    <a:pt x="176213" y="12954"/>
                  </a:cubicBezTo>
                  <a:cubicBezTo>
                    <a:pt x="187452" y="21590"/>
                    <a:pt x="192948" y="36512"/>
                    <a:pt x="192691" y="57722"/>
                  </a:cubicBezTo>
                  <a:cubicBezTo>
                    <a:pt x="193129" y="72122"/>
                    <a:pt x="189852" y="86394"/>
                    <a:pt x="183166" y="99155"/>
                  </a:cubicBezTo>
                  <a:cubicBezTo>
                    <a:pt x="173955" y="109818"/>
                    <a:pt x="161334" y="116955"/>
                    <a:pt x="147447" y="119348"/>
                  </a:cubicBezTo>
                  <a:lnTo>
                    <a:pt x="195072" y="202406"/>
                  </a:lnTo>
                  <a:lnTo>
                    <a:pt x="166497" y="202406"/>
                  </a:lnTo>
                  <a:lnTo>
                    <a:pt x="117538" y="120396"/>
                  </a:lnTo>
                  <a:lnTo>
                    <a:pt x="28575" y="120396"/>
                  </a:lnTo>
                  <a:lnTo>
                    <a:pt x="28575" y="202406"/>
                  </a:lnTo>
                  <a:close/>
                  <a:moveTo>
                    <a:pt x="28575" y="101060"/>
                  </a:moveTo>
                  <a:lnTo>
                    <a:pt x="110109" y="101060"/>
                  </a:lnTo>
                  <a:cubicBezTo>
                    <a:pt x="131569" y="101060"/>
                    <a:pt x="146237" y="98425"/>
                    <a:pt x="154114" y="93155"/>
                  </a:cubicBezTo>
                  <a:cubicBezTo>
                    <a:pt x="162811" y="85835"/>
                    <a:pt x="167211" y="74620"/>
                    <a:pt x="165830" y="63341"/>
                  </a:cubicBezTo>
                  <a:cubicBezTo>
                    <a:pt x="165830" y="45053"/>
                    <a:pt x="162944" y="33147"/>
                    <a:pt x="157163" y="27623"/>
                  </a:cubicBezTo>
                  <a:cubicBezTo>
                    <a:pt x="151381" y="22098"/>
                    <a:pt x="138779" y="19400"/>
                    <a:pt x="119348" y="19526"/>
                  </a:cubicBezTo>
                  <a:lnTo>
                    <a:pt x="28194" y="19526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ihandform: Form 9">
              <a:extLst>
                <a:ext uri="{FF2B5EF4-FFF2-40B4-BE49-F238E27FC236}">
                  <a16:creationId xmlns:a16="http://schemas.microsoft.com/office/drawing/2014/main" xmlns="" id="{20956175-B896-49C5-87F0-D567B28D2A78}"/>
                </a:ext>
              </a:extLst>
            </p:cNvPr>
            <p:cNvSpPr/>
            <p:nvPr/>
          </p:nvSpPr>
          <p:spPr>
            <a:xfrm>
              <a:off x="11364542" y="990355"/>
              <a:ext cx="28575" cy="200025"/>
            </a:xfrm>
            <a:custGeom>
              <a:avLst/>
              <a:gdLst>
                <a:gd name="connsiteX0" fmla="*/ 28575 w 28575"/>
                <a:gd name="connsiteY0" fmla="*/ 0 h 200025"/>
                <a:gd name="connsiteX1" fmla="*/ 28575 w 28575"/>
                <a:gd name="connsiteY1" fmla="*/ 202311 h 200025"/>
                <a:gd name="connsiteX2" fmla="*/ 0 w 28575"/>
                <a:gd name="connsiteY2" fmla="*/ 202311 h 200025"/>
                <a:gd name="connsiteX3" fmla="*/ 0 w 28575"/>
                <a:gd name="connsiteY3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200025">
                  <a:moveTo>
                    <a:pt x="28575" y="0"/>
                  </a:moveTo>
                  <a:lnTo>
                    <a:pt x="28575" y="202311"/>
                  </a:lnTo>
                  <a:lnTo>
                    <a:pt x="0" y="20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ihandform: Form 10">
              <a:extLst>
                <a:ext uri="{FF2B5EF4-FFF2-40B4-BE49-F238E27FC236}">
                  <a16:creationId xmlns:a16="http://schemas.microsoft.com/office/drawing/2014/main" xmlns="" id="{2F7558C3-D00A-4E66-A2F7-2EE2CE61AC78}"/>
                </a:ext>
              </a:extLst>
            </p:cNvPr>
            <p:cNvSpPr/>
            <p:nvPr/>
          </p:nvSpPr>
          <p:spPr>
            <a:xfrm>
              <a:off x="11710395" y="990355"/>
              <a:ext cx="209550" cy="200025"/>
            </a:xfrm>
            <a:custGeom>
              <a:avLst/>
              <a:gdLst>
                <a:gd name="connsiteX0" fmla="*/ 213836 w 209550"/>
                <a:gd name="connsiteY0" fmla="*/ 0 h 200025"/>
                <a:gd name="connsiteX1" fmla="*/ 213836 w 209550"/>
                <a:gd name="connsiteY1" fmla="*/ 202311 h 200025"/>
                <a:gd name="connsiteX2" fmla="*/ 167450 w 209550"/>
                <a:gd name="connsiteY2" fmla="*/ 202311 h 200025"/>
                <a:gd name="connsiteX3" fmla="*/ 62675 w 209550"/>
                <a:gd name="connsiteY3" fmla="*/ 64579 h 200025"/>
                <a:gd name="connsiteX4" fmla="*/ 45625 w 209550"/>
                <a:gd name="connsiteY4" fmla="*/ 41910 h 200025"/>
                <a:gd name="connsiteX5" fmla="*/ 37243 w 209550"/>
                <a:gd name="connsiteY5" fmla="*/ 30671 h 200025"/>
                <a:gd name="connsiteX6" fmla="*/ 29337 w 209550"/>
                <a:gd name="connsiteY6" fmla="*/ 19526 h 200025"/>
                <a:gd name="connsiteX7" fmla="*/ 28575 w 209550"/>
                <a:gd name="connsiteY7" fmla="*/ 19526 h 200025"/>
                <a:gd name="connsiteX8" fmla="*/ 28575 w 209550"/>
                <a:gd name="connsiteY8" fmla="*/ 27051 h 200025"/>
                <a:gd name="connsiteX9" fmla="*/ 28575 w 209550"/>
                <a:gd name="connsiteY9" fmla="*/ 34766 h 200025"/>
                <a:gd name="connsiteX10" fmla="*/ 28575 w 209550"/>
                <a:gd name="connsiteY10" fmla="*/ 202406 h 200025"/>
                <a:gd name="connsiteX11" fmla="*/ 0 w 209550"/>
                <a:gd name="connsiteY11" fmla="*/ 202406 h 200025"/>
                <a:gd name="connsiteX12" fmla="*/ 0 w 209550"/>
                <a:gd name="connsiteY12" fmla="*/ 0 h 200025"/>
                <a:gd name="connsiteX13" fmla="*/ 46101 w 209550"/>
                <a:gd name="connsiteY13" fmla="*/ 0 h 200025"/>
                <a:gd name="connsiteX14" fmla="*/ 137541 w 209550"/>
                <a:gd name="connsiteY14" fmla="*/ 120682 h 200025"/>
                <a:gd name="connsiteX15" fmla="*/ 161353 w 209550"/>
                <a:gd name="connsiteY15" fmla="*/ 152400 h 200025"/>
                <a:gd name="connsiteX16" fmla="*/ 173260 w 209550"/>
                <a:gd name="connsiteY16" fmla="*/ 168116 h 200025"/>
                <a:gd name="connsiteX17" fmla="*/ 184975 w 209550"/>
                <a:gd name="connsiteY17" fmla="*/ 184023 h 200025"/>
                <a:gd name="connsiteX18" fmla="*/ 185737 w 209550"/>
                <a:gd name="connsiteY18" fmla="*/ 184023 h 200025"/>
                <a:gd name="connsiteX19" fmla="*/ 185737 w 209550"/>
                <a:gd name="connsiteY19" fmla="*/ 176498 h 200025"/>
                <a:gd name="connsiteX20" fmla="*/ 185737 w 209550"/>
                <a:gd name="connsiteY20" fmla="*/ 168783 h 200025"/>
                <a:gd name="connsiteX21" fmla="*/ 185737 w 209550"/>
                <a:gd name="connsiteY21" fmla="*/ 0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9550" h="200025">
                  <a:moveTo>
                    <a:pt x="213836" y="0"/>
                  </a:moveTo>
                  <a:lnTo>
                    <a:pt x="213836" y="202311"/>
                  </a:lnTo>
                  <a:lnTo>
                    <a:pt x="167450" y="202311"/>
                  </a:lnTo>
                  <a:lnTo>
                    <a:pt x="62675" y="64579"/>
                  </a:lnTo>
                  <a:lnTo>
                    <a:pt x="45625" y="41910"/>
                  </a:lnTo>
                  <a:lnTo>
                    <a:pt x="37243" y="30671"/>
                  </a:lnTo>
                  <a:lnTo>
                    <a:pt x="29337" y="19526"/>
                  </a:lnTo>
                  <a:lnTo>
                    <a:pt x="28575" y="19526"/>
                  </a:lnTo>
                  <a:lnTo>
                    <a:pt x="28575" y="27051"/>
                  </a:lnTo>
                  <a:lnTo>
                    <a:pt x="28575" y="34766"/>
                  </a:lnTo>
                  <a:lnTo>
                    <a:pt x="28575" y="202406"/>
                  </a:lnTo>
                  <a:lnTo>
                    <a:pt x="0" y="202406"/>
                  </a:lnTo>
                  <a:lnTo>
                    <a:pt x="0" y="0"/>
                  </a:lnTo>
                  <a:lnTo>
                    <a:pt x="46101" y="0"/>
                  </a:lnTo>
                  <a:lnTo>
                    <a:pt x="137541" y="120682"/>
                  </a:lnTo>
                  <a:lnTo>
                    <a:pt x="161353" y="152400"/>
                  </a:lnTo>
                  <a:lnTo>
                    <a:pt x="173260" y="168116"/>
                  </a:lnTo>
                  <a:lnTo>
                    <a:pt x="184975" y="184023"/>
                  </a:lnTo>
                  <a:lnTo>
                    <a:pt x="185737" y="184023"/>
                  </a:lnTo>
                  <a:lnTo>
                    <a:pt x="185737" y="176498"/>
                  </a:lnTo>
                  <a:lnTo>
                    <a:pt x="185737" y="168783"/>
                  </a:lnTo>
                  <a:lnTo>
                    <a:pt x="185737" y="0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ihandform: Form 11">
              <a:extLst>
                <a:ext uri="{FF2B5EF4-FFF2-40B4-BE49-F238E27FC236}">
                  <a16:creationId xmlns:a16="http://schemas.microsoft.com/office/drawing/2014/main" xmlns="" id="{49F70560-6B21-48DC-B3B1-4ED7B4A8946A}"/>
                </a:ext>
              </a:extLst>
            </p:cNvPr>
            <p:cNvSpPr/>
            <p:nvPr/>
          </p:nvSpPr>
          <p:spPr>
            <a:xfrm>
              <a:off x="11455981" y="988069"/>
              <a:ext cx="190500" cy="200025"/>
            </a:xfrm>
            <a:custGeom>
              <a:avLst/>
              <a:gdLst>
                <a:gd name="connsiteX0" fmla="*/ 177261 w 190500"/>
                <a:gd name="connsiteY0" fmla="*/ 11621 h 200025"/>
                <a:gd name="connsiteX1" fmla="*/ 99346 w 190500"/>
                <a:gd name="connsiteY1" fmla="*/ 0 h 200025"/>
                <a:gd name="connsiteX2" fmla="*/ 19051 w 190500"/>
                <a:gd name="connsiteY2" fmla="*/ 12097 h 200025"/>
                <a:gd name="connsiteX3" fmla="*/ 1 w 190500"/>
                <a:gd name="connsiteY3" fmla="*/ 62675 h 200025"/>
                <a:gd name="connsiteX4" fmla="*/ 1 w 190500"/>
                <a:gd name="connsiteY4" fmla="*/ 204406 h 200025"/>
                <a:gd name="connsiteX5" fmla="*/ 28576 w 190500"/>
                <a:gd name="connsiteY5" fmla="*/ 204406 h 200025"/>
                <a:gd name="connsiteX6" fmla="*/ 28576 w 190500"/>
                <a:gd name="connsiteY6" fmla="*/ 135541 h 200025"/>
                <a:gd name="connsiteX7" fmla="*/ 170117 w 190500"/>
                <a:gd name="connsiteY7" fmla="*/ 135541 h 200025"/>
                <a:gd name="connsiteX8" fmla="*/ 170117 w 190500"/>
                <a:gd name="connsiteY8" fmla="*/ 204406 h 200025"/>
                <a:gd name="connsiteX9" fmla="*/ 198692 w 190500"/>
                <a:gd name="connsiteY9" fmla="*/ 204406 h 200025"/>
                <a:gd name="connsiteX10" fmla="*/ 198692 w 190500"/>
                <a:gd name="connsiteY10" fmla="*/ 55912 h 200025"/>
                <a:gd name="connsiteX11" fmla="*/ 177261 w 190500"/>
                <a:gd name="connsiteY11" fmla="*/ 11621 h 200025"/>
                <a:gd name="connsiteX12" fmla="*/ 28099 w 190500"/>
                <a:gd name="connsiteY12" fmla="*/ 120872 h 200025"/>
                <a:gd name="connsiteX13" fmla="*/ 28099 w 190500"/>
                <a:gd name="connsiteY13" fmla="*/ 62675 h 200025"/>
                <a:gd name="connsiteX14" fmla="*/ 40196 w 190500"/>
                <a:gd name="connsiteY14" fmla="*/ 26479 h 200025"/>
                <a:gd name="connsiteX15" fmla="*/ 101347 w 190500"/>
                <a:gd name="connsiteY15" fmla="*/ 19336 h 200025"/>
                <a:gd name="connsiteX16" fmla="*/ 158497 w 190500"/>
                <a:gd name="connsiteY16" fmla="*/ 26670 h 200025"/>
                <a:gd name="connsiteX17" fmla="*/ 170022 w 190500"/>
                <a:gd name="connsiteY17" fmla="*/ 62770 h 200025"/>
                <a:gd name="connsiteX18" fmla="*/ 170022 w 190500"/>
                <a:gd name="connsiteY18" fmla="*/ 12087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90500" h="200025">
                  <a:moveTo>
                    <a:pt x="177261" y="11621"/>
                  </a:moveTo>
                  <a:cubicBezTo>
                    <a:pt x="163545" y="3874"/>
                    <a:pt x="137570" y="0"/>
                    <a:pt x="99346" y="0"/>
                  </a:cubicBezTo>
                  <a:cubicBezTo>
                    <a:pt x="58579" y="0"/>
                    <a:pt x="31814" y="4032"/>
                    <a:pt x="19051" y="12097"/>
                  </a:cubicBezTo>
                  <a:cubicBezTo>
                    <a:pt x="6287" y="20162"/>
                    <a:pt x="-66" y="37021"/>
                    <a:pt x="1" y="62675"/>
                  </a:cubicBezTo>
                  <a:lnTo>
                    <a:pt x="1" y="204406"/>
                  </a:lnTo>
                  <a:lnTo>
                    <a:pt x="28576" y="204406"/>
                  </a:lnTo>
                  <a:lnTo>
                    <a:pt x="28576" y="135541"/>
                  </a:lnTo>
                  <a:lnTo>
                    <a:pt x="170117" y="135541"/>
                  </a:lnTo>
                  <a:lnTo>
                    <a:pt x="170117" y="204406"/>
                  </a:lnTo>
                  <a:lnTo>
                    <a:pt x="198692" y="204406"/>
                  </a:lnTo>
                  <a:lnTo>
                    <a:pt x="198692" y="55912"/>
                  </a:lnTo>
                  <a:cubicBezTo>
                    <a:pt x="198121" y="34131"/>
                    <a:pt x="190977" y="19367"/>
                    <a:pt x="177261" y="11621"/>
                  </a:cubicBezTo>
                  <a:close/>
                  <a:moveTo>
                    <a:pt x="28099" y="120872"/>
                  </a:moveTo>
                  <a:lnTo>
                    <a:pt x="28099" y="62675"/>
                  </a:lnTo>
                  <a:cubicBezTo>
                    <a:pt x="28099" y="43625"/>
                    <a:pt x="32128" y="31559"/>
                    <a:pt x="40196" y="26479"/>
                  </a:cubicBezTo>
                  <a:cubicBezTo>
                    <a:pt x="48264" y="21400"/>
                    <a:pt x="68647" y="19019"/>
                    <a:pt x="101347" y="19336"/>
                  </a:cubicBezTo>
                  <a:cubicBezTo>
                    <a:pt x="131512" y="19336"/>
                    <a:pt x="150562" y="21781"/>
                    <a:pt x="158497" y="26670"/>
                  </a:cubicBezTo>
                  <a:cubicBezTo>
                    <a:pt x="166431" y="31559"/>
                    <a:pt x="170279" y="43593"/>
                    <a:pt x="170022" y="62770"/>
                  </a:cubicBezTo>
                  <a:lnTo>
                    <a:pt x="170022" y="120872"/>
                  </a:lnTo>
                  <a:close/>
                </a:path>
              </a:pathLst>
            </a:custGeom>
            <a:solidFill>
              <a:srgbClr val="616B7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ihandform: Form 16">
              <a:extLst>
                <a:ext uri="{FF2B5EF4-FFF2-40B4-BE49-F238E27FC236}">
                  <a16:creationId xmlns:a16="http://schemas.microsoft.com/office/drawing/2014/main" xmlns="" id="{FB9E3414-7D4F-4441-972E-44AA876D768A}"/>
                </a:ext>
              </a:extLst>
            </p:cNvPr>
            <p:cNvSpPr/>
            <p:nvPr/>
          </p:nvSpPr>
          <p:spPr>
            <a:xfrm>
              <a:off x="10194015" y="1254388"/>
              <a:ext cx="161925" cy="171450"/>
            </a:xfrm>
            <a:custGeom>
              <a:avLst/>
              <a:gdLst>
                <a:gd name="connsiteX0" fmla="*/ 81344 w 161925"/>
                <a:gd name="connsiteY0" fmla="*/ 0 h 171450"/>
                <a:gd name="connsiteX1" fmla="*/ 18955 w 161925"/>
                <a:gd name="connsiteY1" fmla="*/ 10192 h 171450"/>
                <a:gd name="connsiteX2" fmla="*/ 1429 w 161925"/>
                <a:gd name="connsiteY2" fmla="*/ 52007 h 171450"/>
                <a:gd name="connsiteX3" fmla="*/ 57912 w 161925"/>
                <a:gd name="connsiteY3" fmla="*/ 100489 h 171450"/>
                <a:gd name="connsiteX4" fmla="*/ 80391 w 161925"/>
                <a:gd name="connsiteY4" fmla="*/ 101441 h 171450"/>
                <a:gd name="connsiteX5" fmla="*/ 104013 w 161925"/>
                <a:gd name="connsiteY5" fmla="*/ 102394 h 171450"/>
                <a:gd name="connsiteX6" fmla="*/ 126397 w 161925"/>
                <a:gd name="connsiteY6" fmla="*/ 107061 h 171450"/>
                <a:gd name="connsiteX7" fmla="*/ 130016 w 161925"/>
                <a:gd name="connsiteY7" fmla="*/ 122682 h 171450"/>
                <a:gd name="connsiteX8" fmla="*/ 123730 w 161925"/>
                <a:gd name="connsiteY8" fmla="*/ 146304 h 171450"/>
                <a:gd name="connsiteX9" fmla="*/ 78391 w 161925"/>
                <a:gd name="connsiteY9" fmla="*/ 150876 h 171450"/>
                <a:gd name="connsiteX10" fmla="*/ 39052 w 161925"/>
                <a:gd name="connsiteY10" fmla="*/ 146399 h 171450"/>
                <a:gd name="connsiteX11" fmla="*/ 33338 w 161925"/>
                <a:gd name="connsiteY11" fmla="*/ 123825 h 171450"/>
                <a:gd name="connsiteX12" fmla="*/ 3333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5 w 161925"/>
                <a:gd name="connsiteY17" fmla="*/ 177165 h 171450"/>
                <a:gd name="connsiteX18" fmla="*/ 145637 w 161925"/>
                <a:gd name="connsiteY18" fmla="*/ 167640 h 171450"/>
                <a:gd name="connsiteX19" fmla="*/ 163163 w 161925"/>
                <a:gd name="connsiteY19" fmla="*/ 124111 h 171450"/>
                <a:gd name="connsiteX20" fmla="*/ 147828 w 161925"/>
                <a:gd name="connsiteY20" fmla="*/ 83630 h 171450"/>
                <a:gd name="connsiteX21" fmla="*/ 85249 w 161925"/>
                <a:gd name="connsiteY21" fmla="*/ 73152 h 171450"/>
                <a:gd name="connsiteX22" fmla="*/ 39338 w 161925"/>
                <a:gd name="connsiteY22" fmla="*/ 67913 h 171450"/>
                <a:gd name="connsiteX23" fmla="*/ 34195 w 161925"/>
                <a:gd name="connsiteY23" fmla="*/ 48863 h 171450"/>
                <a:gd name="connsiteX24" fmla="*/ 41434 w 161925"/>
                <a:gd name="connsiteY24" fmla="*/ 31147 h 171450"/>
                <a:gd name="connsiteX25" fmla="*/ 85058 w 161925"/>
                <a:gd name="connsiteY25" fmla="*/ 26670 h 171450"/>
                <a:gd name="connsiteX26" fmla="*/ 120301 w 161925"/>
                <a:gd name="connsiteY26" fmla="*/ 31052 h 171450"/>
                <a:gd name="connsiteX27" fmla="*/ 125921 w 161925"/>
                <a:gd name="connsiteY27" fmla="*/ 51435 h 171450"/>
                <a:gd name="connsiteX28" fmla="*/ 125921 w 161925"/>
                <a:gd name="connsiteY28" fmla="*/ 56960 h 171450"/>
                <a:gd name="connsiteX29" fmla="*/ 159544 w 161925"/>
                <a:gd name="connsiteY29" fmla="*/ 56960 h 171450"/>
                <a:gd name="connsiteX30" fmla="*/ 159544 w 161925"/>
                <a:gd name="connsiteY30" fmla="*/ 51435 h 171450"/>
                <a:gd name="connsiteX31" fmla="*/ 143256 w 161925"/>
                <a:gd name="connsiteY31" fmla="*/ 9525 h 171450"/>
                <a:gd name="connsiteX32" fmla="*/ 81439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344" y="0"/>
                  </a:moveTo>
                  <a:cubicBezTo>
                    <a:pt x="50292" y="0"/>
                    <a:pt x="29908" y="3334"/>
                    <a:pt x="18955" y="10192"/>
                  </a:cubicBezTo>
                  <a:cubicBezTo>
                    <a:pt x="8001" y="17050"/>
                    <a:pt x="1429" y="31718"/>
                    <a:pt x="1429" y="52007"/>
                  </a:cubicBezTo>
                  <a:cubicBezTo>
                    <a:pt x="1429" y="72295"/>
                    <a:pt x="10954" y="97917"/>
                    <a:pt x="57912" y="100489"/>
                  </a:cubicBezTo>
                  <a:lnTo>
                    <a:pt x="80391" y="101441"/>
                  </a:lnTo>
                  <a:lnTo>
                    <a:pt x="104013" y="102394"/>
                  </a:lnTo>
                  <a:cubicBezTo>
                    <a:pt x="111763" y="101845"/>
                    <a:pt x="119512" y="103461"/>
                    <a:pt x="126397" y="107061"/>
                  </a:cubicBezTo>
                  <a:cubicBezTo>
                    <a:pt x="129589" y="111600"/>
                    <a:pt x="130887" y="117202"/>
                    <a:pt x="130016" y="122682"/>
                  </a:cubicBezTo>
                  <a:cubicBezTo>
                    <a:pt x="130016" y="140018"/>
                    <a:pt x="126111" y="144875"/>
                    <a:pt x="123730" y="146304"/>
                  </a:cubicBezTo>
                  <a:cubicBezTo>
                    <a:pt x="121348" y="147733"/>
                    <a:pt x="111157" y="150876"/>
                    <a:pt x="78391" y="150876"/>
                  </a:cubicBezTo>
                  <a:cubicBezTo>
                    <a:pt x="49816" y="150876"/>
                    <a:pt x="41624" y="148114"/>
                    <a:pt x="39052" y="146399"/>
                  </a:cubicBezTo>
                  <a:cubicBezTo>
                    <a:pt x="36481" y="144685"/>
                    <a:pt x="33338" y="140303"/>
                    <a:pt x="33338" y="123825"/>
                  </a:cubicBezTo>
                  <a:lnTo>
                    <a:pt x="3333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5" y="174593"/>
                    <a:pt x="47530" y="177165"/>
                    <a:pt x="77915" y="177165"/>
                  </a:cubicBezTo>
                  <a:cubicBezTo>
                    <a:pt x="112776" y="177165"/>
                    <a:pt x="135065" y="174022"/>
                    <a:pt x="145637" y="167640"/>
                  </a:cubicBezTo>
                  <a:cubicBezTo>
                    <a:pt x="156210" y="161258"/>
                    <a:pt x="163163" y="146018"/>
                    <a:pt x="163163" y="124111"/>
                  </a:cubicBezTo>
                  <a:cubicBezTo>
                    <a:pt x="163163" y="102203"/>
                    <a:pt x="158115" y="90107"/>
                    <a:pt x="147828" y="83630"/>
                  </a:cubicBezTo>
                  <a:cubicBezTo>
                    <a:pt x="137541" y="77153"/>
                    <a:pt x="117920" y="74105"/>
                    <a:pt x="85249" y="73152"/>
                  </a:cubicBezTo>
                  <a:cubicBezTo>
                    <a:pt x="52578" y="72200"/>
                    <a:pt x="42005" y="69342"/>
                    <a:pt x="39338" y="67913"/>
                  </a:cubicBezTo>
                  <a:cubicBezTo>
                    <a:pt x="36671" y="66485"/>
                    <a:pt x="34195" y="59150"/>
                    <a:pt x="34195" y="48863"/>
                  </a:cubicBezTo>
                  <a:cubicBezTo>
                    <a:pt x="34195" y="34766"/>
                    <a:pt x="39624" y="32099"/>
                    <a:pt x="41434" y="31147"/>
                  </a:cubicBezTo>
                  <a:cubicBezTo>
                    <a:pt x="45625" y="29051"/>
                    <a:pt x="56579" y="26670"/>
                    <a:pt x="85058" y="26670"/>
                  </a:cubicBezTo>
                  <a:cubicBezTo>
                    <a:pt x="109823" y="26670"/>
                    <a:pt x="117729" y="29432"/>
                    <a:pt x="120301" y="31052"/>
                  </a:cubicBezTo>
                  <a:cubicBezTo>
                    <a:pt x="122873" y="32671"/>
                    <a:pt x="125921" y="40577"/>
                    <a:pt x="125921" y="51435"/>
                  </a:cubicBezTo>
                  <a:lnTo>
                    <a:pt x="125921" y="56960"/>
                  </a:lnTo>
                  <a:lnTo>
                    <a:pt x="159544" y="56960"/>
                  </a:lnTo>
                  <a:lnTo>
                    <a:pt x="159544" y="51435"/>
                  </a:lnTo>
                  <a:cubicBezTo>
                    <a:pt x="159544" y="30480"/>
                    <a:pt x="154019" y="16383"/>
                    <a:pt x="143256" y="9525"/>
                  </a:cubicBezTo>
                  <a:cubicBezTo>
                    <a:pt x="132493" y="2667"/>
                    <a:pt x="112871" y="0"/>
                    <a:pt x="81439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ihandform: Form 17">
              <a:extLst>
                <a:ext uri="{FF2B5EF4-FFF2-40B4-BE49-F238E27FC236}">
                  <a16:creationId xmlns:a16="http://schemas.microsoft.com/office/drawing/2014/main" xmlns="" id="{D077EE46-1AAF-495B-AD12-5905736D47C3}"/>
                </a:ext>
              </a:extLst>
            </p:cNvPr>
            <p:cNvSpPr/>
            <p:nvPr/>
          </p:nvSpPr>
          <p:spPr>
            <a:xfrm>
              <a:off x="10367465" y="1255626"/>
              <a:ext cx="161925" cy="171450"/>
            </a:xfrm>
            <a:custGeom>
              <a:avLst/>
              <a:gdLst>
                <a:gd name="connsiteX0" fmla="*/ 164592 w 161925"/>
                <a:gd name="connsiteY0" fmla="*/ 381 h 171450"/>
                <a:gd name="connsiteX1" fmla="*/ 0 w 161925"/>
                <a:gd name="connsiteY1" fmla="*/ 381 h 171450"/>
                <a:gd name="connsiteX2" fmla="*/ 0 w 161925"/>
                <a:gd name="connsiteY2" fmla="*/ 28956 h 171450"/>
                <a:gd name="connsiteX3" fmla="*/ 65723 w 161925"/>
                <a:gd name="connsiteY3" fmla="*/ 28956 h 171450"/>
                <a:gd name="connsiteX4" fmla="*/ 65723 w 161925"/>
                <a:gd name="connsiteY4" fmla="*/ 174498 h 171450"/>
                <a:gd name="connsiteX5" fmla="*/ 99441 w 161925"/>
                <a:gd name="connsiteY5" fmla="*/ 174498 h 171450"/>
                <a:gd name="connsiteX6" fmla="*/ 99441 w 161925"/>
                <a:gd name="connsiteY6" fmla="*/ 28575 h 171450"/>
                <a:gd name="connsiteX7" fmla="*/ 164592 w 161925"/>
                <a:gd name="connsiteY7" fmla="*/ 28575 h 171450"/>
                <a:gd name="connsiteX8" fmla="*/ 164592 w 161925"/>
                <a:gd name="connsiteY8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171450">
                  <a:moveTo>
                    <a:pt x="164592" y="381"/>
                  </a:moveTo>
                  <a:lnTo>
                    <a:pt x="0" y="381"/>
                  </a:lnTo>
                  <a:lnTo>
                    <a:pt x="0" y="28956"/>
                  </a:lnTo>
                  <a:lnTo>
                    <a:pt x="65723" y="28956"/>
                  </a:lnTo>
                  <a:lnTo>
                    <a:pt x="65723" y="174498"/>
                  </a:lnTo>
                  <a:lnTo>
                    <a:pt x="99441" y="174498"/>
                  </a:lnTo>
                  <a:lnTo>
                    <a:pt x="99441" y="28575"/>
                  </a:lnTo>
                  <a:lnTo>
                    <a:pt x="164592" y="28575"/>
                  </a:lnTo>
                  <a:lnTo>
                    <a:pt x="164592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ihandform: Form 18">
              <a:extLst>
                <a:ext uri="{FF2B5EF4-FFF2-40B4-BE49-F238E27FC236}">
                  <a16:creationId xmlns:a16="http://schemas.microsoft.com/office/drawing/2014/main" xmlns="" id="{69FED47D-7139-467F-BCA0-4739997FA092}"/>
                </a:ext>
              </a:extLst>
            </p:cNvPr>
            <p:cNvSpPr/>
            <p:nvPr/>
          </p:nvSpPr>
          <p:spPr>
            <a:xfrm>
              <a:off x="11562281" y="1256007"/>
              <a:ext cx="171450" cy="171450"/>
            </a:xfrm>
            <a:custGeom>
              <a:avLst/>
              <a:gdLst>
                <a:gd name="connsiteX0" fmla="*/ 161925 w 171450"/>
                <a:gd name="connsiteY0" fmla="*/ 17050 h 171450"/>
                <a:gd name="connsiteX1" fmla="*/ 99346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925 w 171450"/>
                <a:gd name="connsiteY7" fmla="*/ 17050 h 171450"/>
                <a:gd name="connsiteX8" fmla="*/ 136588 w 171450"/>
                <a:gd name="connsiteY8" fmla="*/ 137731 h 171450"/>
                <a:gd name="connsiteX9" fmla="*/ 94107 w 171450"/>
                <a:gd name="connsiteY9" fmla="*/ 147256 h 171450"/>
                <a:gd name="connsiteX10" fmla="*/ 33909 w 171450"/>
                <a:gd name="connsiteY10" fmla="*/ 147256 h 171450"/>
                <a:gd name="connsiteX11" fmla="*/ 33909 w 171450"/>
                <a:gd name="connsiteY11" fmla="*/ 26575 h 171450"/>
                <a:gd name="connsiteX12" fmla="*/ 98679 w 171450"/>
                <a:gd name="connsiteY12" fmla="*/ 26575 h 171450"/>
                <a:gd name="connsiteX13" fmla="*/ 137732 w 171450"/>
                <a:gd name="connsiteY13" fmla="*/ 36100 h 171450"/>
                <a:gd name="connsiteX14" fmla="*/ 145637 w 171450"/>
                <a:gd name="connsiteY14" fmla="*/ 88964 h 171450"/>
                <a:gd name="connsiteX15" fmla="*/ 136588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925" y="17050"/>
                  </a:moveTo>
                  <a:cubicBezTo>
                    <a:pt x="150495" y="5620"/>
                    <a:pt x="130016" y="0"/>
                    <a:pt x="99346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403" y="49149"/>
                    <a:pt x="172879" y="28480"/>
                    <a:pt x="161925" y="17050"/>
                  </a:cubicBezTo>
                  <a:close/>
                  <a:moveTo>
                    <a:pt x="136588" y="137731"/>
                  </a:moveTo>
                  <a:cubicBezTo>
                    <a:pt x="132588" y="142208"/>
                    <a:pt x="121920" y="147256"/>
                    <a:pt x="94107" y="147256"/>
                  </a:cubicBezTo>
                  <a:lnTo>
                    <a:pt x="33909" y="147256"/>
                  </a:lnTo>
                  <a:lnTo>
                    <a:pt x="33909" y="26575"/>
                  </a:lnTo>
                  <a:lnTo>
                    <a:pt x="98679" y="26575"/>
                  </a:lnTo>
                  <a:cubicBezTo>
                    <a:pt x="124873" y="26575"/>
                    <a:pt x="134398" y="31814"/>
                    <a:pt x="137732" y="36100"/>
                  </a:cubicBezTo>
                  <a:cubicBezTo>
                    <a:pt x="141065" y="40386"/>
                    <a:pt x="145637" y="53816"/>
                    <a:pt x="145637" y="88964"/>
                  </a:cubicBezTo>
                  <a:cubicBezTo>
                    <a:pt x="145637" y="120872"/>
                    <a:pt x="140779" y="133064"/>
                    <a:pt x="136588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ihandform: Form 19">
              <a:extLst>
                <a:ext uri="{FF2B5EF4-FFF2-40B4-BE49-F238E27FC236}">
                  <a16:creationId xmlns:a16="http://schemas.microsoft.com/office/drawing/2014/main" xmlns="" id="{AB9CFBD2-BAE8-4634-A865-99E2E7AB9F72}"/>
                </a:ext>
              </a:extLst>
            </p:cNvPr>
            <p:cNvSpPr/>
            <p:nvPr/>
          </p:nvSpPr>
          <p:spPr>
            <a:xfrm>
              <a:off x="11165851" y="1254483"/>
              <a:ext cx="161925" cy="171450"/>
            </a:xfrm>
            <a:custGeom>
              <a:avLst/>
              <a:gdLst>
                <a:gd name="connsiteX0" fmla="*/ 151162 w 161925"/>
                <a:gd name="connsiteY0" fmla="*/ 10097 h 171450"/>
                <a:gd name="connsiteX1" fmla="*/ 85630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162 w 161925"/>
                <a:gd name="connsiteY11" fmla="*/ 10097 h 171450"/>
                <a:gd name="connsiteX12" fmla="*/ 33718 w 161925"/>
                <a:gd name="connsiteY12" fmla="*/ 98298 h 171450"/>
                <a:gd name="connsiteX13" fmla="*/ 33718 w 161925"/>
                <a:gd name="connsiteY13" fmla="*/ 56102 h 171450"/>
                <a:gd name="connsiteX14" fmla="*/ 40767 w 161925"/>
                <a:gd name="connsiteY14" fmla="*/ 31623 h 171450"/>
                <a:gd name="connsiteX15" fmla="*/ 87249 w 161925"/>
                <a:gd name="connsiteY15" fmla="*/ 26575 h 171450"/>
                <a:gd name="connsiteX16" fmla="*/ 130016 w 161925"/>
                <a:gd name="connsiteY16" fmla="*/ 31623 h 171450"/>
                <a:gd name="connsiteX17" fmla="*/ 136779 w 161925"/>
                <a:gd name="connsiteY17" fmla="*/ 56007 h 171450"/>
                <a:gd name="connsiteX18" fmla="*/ 136779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162" y="10097"/>
                  </a:moveTo>
                  <a:cubicBezTo>
                    <a:pt x="139160" y="3334"/>
                    <a:pt x="117729" y="0"/>
                    <a:pt x="85630" y="0"/>
                  </a:cubicBezTo>
                  <a:cubicBezTo>
                    <a:pt x="51435" y="0"/>
                    <a:pt x="29242" y="3429"/>
                    <a:pt x="18002" y="10573"/>
                  </a:cubicBezTo>
                  <a:cubicBezTo>
                    <a:pt x="6763" y="17717"/>
                    <a:pt x="0" y="33338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021" y="17335"/>
                    <a:pt x="151162" y="10097"/>
                  </a:cubicBezTo>
                  <a:close/>
                  <a:moveTo>
                    <a:pt x="33718" y="98298"/>
                  </a:moveTo>
                  <a:lnTo>
                    <a:pt x="33718" y="56102"/>
                  </a:lnTo>
                  <a:cubicBezTo>
                    <a:pt x="33718" y="42863"/>
                    <a:pt x="36195" y="34385"/>
                    <a:pt x="40767" y="31623"/>
                  </a:cubicBezTo>
                  <a:cubicBezTo>
                    <a:pt x="43910" y="29718"/>
                    <a:pt x="54102" y="26575"/>
                    <a:pt x="87249" y="26575"/>
                  </a:cubicBezTo>
                  <a:cubicBezTo>
                    <a:pt x="117538" y="26575"/>
                    <a:pt x="127063" y="29718"/>
                    <a:pt x="130016" y="31623"/>
                  </a:cubicBezTo>
                  <a:cubicBezTo>
                    <a:pt x="132969" y="33528"/>
                    <a:pt x="136779" y="43053"/>
                    <a:pt x="136779" y="56007"/>
                  </a:cubicBezTo>
                  <a:lnTo>
                    <a:pt x="136779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ihandform: Form 20">
              <a:extLst>
                <a:ext uri="{FF2B5EF4-FFF2-40B4-BE49-F238E27FC236}">
                  <a16:creationId xmlns:a16="http://schemas.microsoft.com/office/drawing/2014/main" xmlns="" id="{8EFC338E-E2AF-42B5-817D-672F8968ECC8}"/>
                </a:ext>
              </a:extLst>
            </p:cNvPr>
            <p:cNvSpPr/>
            <p:nvPr/>
          </p:nvSpPr>
          <p:spPr>
            <a:xfrm>
              <a:off x="10550059" y="1254483"/>
              <a:ext cx="161925" cy="171450"/>
            </a:xfrm>
            <a:custGeom>
              <a:avLst/>
              <a:gdLst>
                <a:gd name="connsiteX0" fmla="*/ 151257 w 161925"/>
                <a:gd name="connsiteY0" fmla="*/ 10097 h 171450"/>
                <a:gd name="connsiteX1" fmla="*/ 85725 w 161925"/>
                <a:gd name="connsiteY1" fmla="*/ 0 h 171450"/>
                <a:gd name="connsiteX2" fmla="*/ 18002 w 161925"/>
                <a:gd name="connsiteY2" fmla="*/ 10573 h 171450"/>
                <a:gd name="connsiteX3" fmla="*/ 0 w 161925"/>
                <a:gd name="connsiteY3" fmla="*/ 56007 h 171450"/>
                <a:gd name="connsiteX4" fmla="*/ 0 w 161925"/>
                <a:gd name="connsiteY4" fmla="*/ 175831 h 171450"/>
                <a:gd name="connsiteX5" fmla="*/ 33814 w 161925"/>
                <a:gd name="connsiteY5" fmla="*/ 175831 h 171450"/>
                <a:gd name="connsiteX6" fmla="*/ 33814 w 161925"/>
                <a:gd name="connsiteY6" fmla="*/ 119539 h 171450"/>
                <a:gd name="connsiteX7" fmla="*/ 136874 w 161925"/>
                <a:gd name="connsiteY7" fmla="*/ 119539 h 171450"/>
                <a:gd name="connsiteX8" fmla="*/ 136874 w 161925"/>
                <a:gd name="connsiteY8" fmla="*/ 175831 h 171450"/>
                <a:gd name="connsiteX9" fmla="*/ 170688 w 161925"/>
                <a:gd name="connsiteY9" fmla="*/ 175831 h 171450"/>
                <a:gd name="connsiteX10" fmla="*/ 170688 w 161925"/>
                <a:gd name="connsiteY10" fmla="*/ 50673 h 171450"/>
                <a:gd name="connsiteX11" fmla="*/ 151257 w 161925"/>
                <a:gd name="connsiteY11" fmla="*/ 10097 h 171450"/>
                <a:gd name="connsiteX12" fmla="*/ 33814 w 161925"/>
                <a:gd name="connsiteY12" fmla="*/ 98298 h 171450"/>
                <a:gd name="connsiteX13" fmla="*/ 33814 w 161925"/>
                <a:gd name="connsiteY13" fmla="*/ 56102 h 171450"/>
                <a:gd name="connsiteX14" fmla="*/ 40862 w 161925"/>
                <a:gd name="connsiteY14" fmla="*/ 31623 h 171450"/>
                <a:gd name="connsiteX15" fmla="*/ 87344 w 161925"/>
                <a:gd name="connsiteY15" fmla="*/ 26575 h 171450"/>
                <a:gd name="connsiteX16" fmla="*/ 130111 w 161925"/>
                <a:gd name="connsiteY16" fmla="*/ 31623 h 171450"/>
                <a:gd name="connsiteX17" fmla="*/ 136874 w 161925"/>
                <a:gd name="connsiteY17" fmla="*/ 56007 h 171450"/>
                <a:gd name="connsiteX18" fmla="*/ 136874 w 161925"/>
                <a:gd name="connsiteY18" fmla="*/ 9829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925" h="171450">
                  <a:moveTo>
                    <a:pt x="151257" y="10097"/>
                  </a:moveTo>
                  <a:cubicBezTo>
                    <a:pt x="139256" y="3334"/>
                    <a:pt x="117824" y="0"/>
                    <a:pt x="85725" y="0"/>
                  </a:cubicBezTo>
                  <a:cubicBezTo>
                    <a:pt x="51435" y="0"/>
                    <a:pt x="29337" y="3429"/>
                    <a:pt x="18002" y="10573"/>
                  </a:cubicBezTo>
                  <a:cubicBezTo>
                    <a:pt x="6667" y="17717"/>
                    <a:pt x="0" y="33433"/>
                    <a:pt x="0" y="56007"/>
                  </a:cubicBezTo>
                  <a:lnTo>
                    <a:pt x="0" y="175831"/>
                  </a:lnTo>
                  <a:lnTo>
                    <a:pt x="33814" y="175831"/>
                  </a:lnTo>
                  <a:lnTo>
                    <a:pt x="33814" y="119539"/>
                  </a:lnTo>
                  <a:lnTo>
                    <a:pt x="136874" y="119539"/>
                  </a:lnTo>
                  <a:lnTo>
                    <a:pt x="136874" y="175831"/>
                  </a:lnTo>
                  <a:lnTo>
                    <a:pt x="170688" y="175831"/>
                  </a:lnTo>
                  <a:lnTo>
                    <a:pt x="170688" y="50673"/>
                  </a:lnTo>
                  <a:cubicBezTo>
                    <a:pt x="170593" y="30956"/>
                    <a:pt x="164497" y="17431"/>
                    <a:pt x="151257" y="10097"/>
                  </a:cubicBezTo>
                  <a:close/>
                  <a:moveTo>
                    <a:pt x="33814" y="98298"/>
                  </a:moveTo>
                  <a:lnTo>
                    <a:pt x="33814" y="56102"/>
                  </a:lnTo>
                  <a:cubicBezTo>
                    <a:pt x="33814" y="42863"/>
                    <a:pt x="36290" y="34385"/>
                    <a:pt x="40862" y="31623"/>
                  </a:cubicBezTo>
                  <a:cubicBezTo>
                    <a:pt x="44005" y="29718"/>
                    <a:pt x="54197" y="26575"/>
                    <a:pt x="87344" y="26575"/>
                  </a:cubicBezTo>
                  <a:cubicBezTo>
                    <a:pt x="117634" y="26575"/>
                    <a:pt x="127159" y="29718"/>
                    <a:pt x="130111" y="31623"/>
                  </a:cubicBezTo>
                  <a:cubicBezTo>
                    <a:pt x="133064" y="33528"/>
                    <a:pt x="136874" y="43053"/>
                    <a:pt x="136874" y="56007"/>
                  </a:cubicBezTo>
                  <a:lnTo>
                    <a:pt x="136874" y="98298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ihandform: Form 21">
              <a:extLst>
                <a:ext uri="{FF2B5EF4-FFF2-40B4-BE49-F238E27FC236}">
                  <a16:creationId xmlns:a16="http://schemas.microsoft.com/office/drawing/2014/main" xmlns="" id="{6E3647AC-75D7-4FD0-B8AD-7629BB8A843D}"/>
                </a:ext>
              </a:extLst>
            </p:cNvPr>
            <p:cNvSpPr/>
            <p:nvPr/>
          </p:nvSpPr>
          <p:spPr>
            <a:xfrm>
              <a:off x="10748751" y="1256007"/>
              <a:ext cx="180975" cy="171450"/>
            </a:xfrm>
            <a:custGeom>
              <a:avLst/>
              <a:gdLst>
                <a:gd name="connsiteX0" fmla="*/ 183166 w 180975"/>
                <a:gd name="connsiteY0" fmla="*/ 0 h 171450"/>
                <a:gd name="connsiteX1" fmla="*/ 177641 w 180975"/>
                <a:gd name="connsiteY1" fmla="*/ 0 h 171450"/>
                <a:gd name="connsiteX2" fmla="*/ 154972 w 180975"/>
                <a:gd name="connsiteY2" fmla="*/ 0 h 171450"/>
                <a:gd name="connsiteX3" fmla="*/ 149447 w 180975"/>
                <a:gd name="connsiteY3" fmla="*/ 0 h 171450"/>
                <a:gd name="connsiteX4" fmla="*/ 149447 w 180975"/>
                <a:gd name="connsiteY4" fmla="*/ 5524 h 171450"/>
                <a:gd name="connsiteX5" fmla="*/ 149447 w 180975"/>
                <a:gd name="connsiteY5" fmla="*/ 129349 h 171450"/>
                <a:gd name="connsiteX6" fmla="*/ 149447 w 180975"/>
                <a:gd name="connsiteY6" fmla="*/ 137446 h 171450"/>
                <a:gd name="connsiteX7" fmla="*/ 140017 w 180975"/>
                <a:gd name="connsiteY7" fmla="*/ 125063 h 171450"/>
                <a:gd name="connsiteX8" fmla="*/ 120872 w 180975"/>
                <a:gd name="connsiteY8" fmla="*/ 99441 h 171450"/>
                <a:gd name="connsiteX9" fmla="*/ 47149 w 180975"/>
                <a:gd name="connsiteY9" fmla="*/ 2191 h 171450"/>
                <a:gd name="connsiteX10" fmla="*/ 45529 w 180975"/>
                <a:gd name="connsiteY10" fmla="*/ 0 h 171450"/>
                <a:gd name="connsiteX11" fmla="*/ 42767 w 180975"/>
                <a:gd name="connsiteY11" fmla="*/ 0 h 171450"/>
                <a:gd name="connsiteX12" fmla="*/ 5525 w 180975"/>
                <a:gd name="connsiteY12" fmla="*/ 0 h 171450"/>
                <a:gd name="connsiteX13" fmla="*/ 0 w 180975"/>
                <a:gd name="connsiteY13" fmla="*/ 0 h 171450"/>
                <a:gd name="connsiteX14" fmla="*/ 0 w 180975"/>
                <a:gd name="connsiteY14" fmla="*/ 5524 h 171450"/>
                <a:gd name="connsiteX15" fmla="*/ 0 w 180975"/>
                <a:gd name="connsiteY15" fmla="*/ 168593 h 171450"/>
                <a:gd name="connsiteX16" fmla="*/ 0 w 180975"/>
                <a:gd name="connsiteY16" fmla="*/ 174117 h 171450"/>
                <a:gd name="connsiteX17" fmla="*/ 5525 w 180975"/>
                <a:gd name="connsiteY17" fmla="*/ 174117 h 171450"/>
                <a:gd name="connsiteX18" fmla="*/ 28289 w 180975"/>
                <a:gd name="connsiteY18" fmla="*/ 174117 h 171450"/>
                <a:gd name="connsiteX19" fmla="*/ 33814 w 180975"/>
                <a:gd name="connsiteY19" fmla="*/ 174117 h 171450"/>
                <a:gd name="connsiteX20" fmla="*/ 33814 w 180975"/>
                <a:gd name="connsiteY20" fmla="*/ 168593 h 171450"/>
                <a:gd name="connsiteX21" fmla="*/ 33814 w 180975"/>
                <a:gd name="connsiteY21" fmla="*/ 45720 h 171450"/>
                <a:gd name="connsiteX22" fmla="*/ 33814 w 180975"/>
                <a:gd name="connsiteY22" fmla="*/ 37433 h 171450"/>
                <a:gd name="connsiteX23" fmla="*/ 37719 w 180975"/>
                <a:gd name="connsiteY23" fmla="*/ 42672 h 171450"/>
                <a:gd name="connsiteX24" fmla="*/ 51435 w 180975"/>
                <a:gd name="connsiteY24" fmla="*/ 60960 h 171450"/>
                <a:gd name="connsiteX25" fmla="*/ 135922 w 180975"/>
                <a:gd name="connsiteY25" fmla="*/ 172022 h 171450"/>
                <a:gd name="connsiteX26" fmla="*/ 137541 w 180975"/>
                <a:gd name="connsiteY26" fmla="*/ 174117 h 171450"/>
                <a:gd name="connsiteX27" fmla="*/ 140303 w 180975"/>
                <a:gd name="connsiteY27" fmla="*/ 174117 h 171450"/>
                <a:gd name="connsiteX28" fmla="*/ 177641 w 180975"/>
                <a:gd name="connsiteY28" fmla="*/ 174117 h 171450"/>
                <a:gd name="connsiteX29" fmla="*/ 183166 w 180975"/>
                <a:gd name="connsiteY29" fmla="*/ 174117 h 171450"/>
                <a:gd name="connsiteX30" fmla="*/ 183166 w 180975"/>
                <a:gd name="connsiteY30" fmla="*/ 168593 h 171450"/>
                <a:gd name="connsiteX31" fmla="*/ 183166 w 180975"/>
                <a:gd name="connsiteY31" fmla="*/ 5524 h 171450"/>
                <a:gd name="connsiteX32" fmla="*/ 183166 w 180975"/>
                <a:gd name="connsiteY32" fmla="*/ 0 h 171450"/>
                <a:gd name="connsiteX33" fmla="*/ 183166 w 180975"/>
                <a:gd name="connsiteY33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975" h="171450">
                  <a:moveTo>
                    <a:pt x="183166" y="0"/>
                  </a:moveTo>
                  <a:lnTo>
                    <a:pt x="177641" y="0"/>
                  </a:lnTo>
                  <a:lnTo>
                    <a:pt x="154972" y="0"/>
                  </a:lnTo>
                  <a:lnTo>
                    <a:pt x="149447" y="0"/>
                  </a:lnTo>
                  <a:lnTo>
                    <a:pt x="149447" y="5524"/>
                  </a:lnTo>
                  <a:lnTo>
                    <a:pt x="149447" y="129349"/>
                  </a:lnTo>
                  <a:lnTo>
                    <a:pt x="149447" y="137446"/>
                  </a:lnTo>
                  <a:lnTo>
                    <a:pt x="140017" y="125063"/>
                  </a:lnTo>
                  <a:lnTo>
                    <a:pt x="120872" y="99441"/>
                  </a:lnTo>
                  <a:lnTo>
                    <a:pt x="47149" y="2191"/>
                  </a:lnTo>
                  <a:lnTo>
                    <a:pt x="45529" y="0"/>
                  </a:lnTo>
                  <a:lnTo>
                    <a:pt x="42767" y="0"/>
                  </a:lnTo>
                  <a:lnTo>
                    <a:pt x="5525" y="0"/>
                  </a:lnTo>
                  <a:lnTo>
                    <a:pt x="0" y="0"/>
                  </a:lnTo>
                  <a:lnTo>
                    <a:pt x="0" y="5524"/>
                  </a:lnTo>
                  <a:lnTo>
                    <a:pt x="0" y="168593"/>
                  </a:lnTo>
                  <a:lnTo>
                    <a:pt x="0" y="174117"/>
                  </a:lnTo>
                  <a:lnTo>
                    <a:pt x="5525" y="174117"/>
                  </a:lnTo>
                  <a:lnTo>
                    <a:pt x="28289" y="174117"/>
                  </a:lnTo>
                  <a:lnTo>
                    <a:pt x="33814" y="174117"/>
                  </a:lnTo>
                  <a:lnTo>
                    <a:pt x="33814" y="168593"/>
                  </a:lnTo>
                  <a:lnTo>
                    <a:pt x="33814" y="45720"/>
                  </a:lnTo>
                  <a:lnTo>
                    <a:pt x="33814" y="37433"/>
                  </a:lnTo>
                  <a:lnTo>
                    <a:pt x="37719" y="42672"/>
                  </a:lnTo>
                  <a:lnTo>
                    <a:pt x="51435" y="60960"/>
                  </a:lnTo>
                  <a:lnTo>
                    <a:pt x="135922" y="172022"/>
                  </a:lnTo>
                  <a:lnTo>
                    <a:pt x="137541" y="174117"/>
                  </a:lnTo>
                  <a:lnTo>
                    <a:pt x="140303" y="174117"/>
                  </a:lnTo>
                  <a:lnTo>
                    <a:pt x="177641" y="174117"/>
                  </a:lnTo>
                  <a:lnTo>
                    <a:pt x="183166" y="174117"/>
                  </a:lnTo>
                  <a:lnTo>
                    <a:pt x="183166" y="168593"/>
                  </a:lnTo>
                  <a:lnTo>
                    <a:pt x="183166" y="5524"/>
                  </a:lnTo>
                  <a:lnTo>
                    <a:pt x="183166" y="0"/>
                  </a:lnTo>
                  <a:lnTo>
                    <a:pt x="183166" y="0"/>
                  </a:ln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ihandform: Form 22">
              <a:extLst>
                <a:ext uri="{FF2B5EF4-FFF2-40B4-BE49-F238E27FC236}">
                  <a16:creationId xmlns:a16="http://schemas.microsoft.com/office/drawing/2014/main" xmlns="" id="{9E538A98-7672-4BB1-80AE-F312ED5717A2}"/>
                </a:ext>
              </a:extLst>
            </p:cNvPr>
            <p:cNvSpPr/>
            <p:nvPr/>
          </p:nvSpPr>
          <p:spPr>
            <a:xfrm>
              <a:off x="10962206" y="1256007"/>
              <a:ext cx="171450" cy="171450"/>
            </a:xfrm>
            <a:custGeom>
              <a:avLst/>
              <a:gdLst>
                <a:gd name="connsiteX0" fmla="*/ 161163 w 171450"/>
                <a:gd name="connsiteY0" fmla="*/ 17050 h 171450"/>
                <a:gd name="connsiteX1" fmla="*/ 98584 w 171450"/>
                <a:gd name="connsiteY1" fmla="*/ 0 h 171450"/>
                <a:gd name="connsiteX2" fmla="*/ 0 w 171450"/>
                <a:gd name="connsiteY2" fmla="*/ 0 h 171450"/>
                <a:gd name="connsiteX3" fmla="*/ 0 w 171450"/>
                <a:gd name="connsiteY3" fmla="*/ 174117 h 171450"/>
                <a:gd name="connsiteX4" fmla="*/ 104775 w 171450"/>
                <a:gd name="connsiteY4" fmla="*/ 174117 h 171450"/>
                <a:gd name="connsiteX5" fmla="*/ 163735 w 171450"/>
                <a:gd name="connsiteY5" fmla="*/ 154115 h 171450"/>
                <a:gd name="connsiteX6" fmla="*/ 178499 w 171450"/>
                <a:gd name="connsiteY6" fmla="*/ 79915 h 171450"/>
                <a:gd name="connsiteX7" fmla="*/ 161163 w 171450"/>
                <a:gd name="connsiteY7" fmla="*/ 17050 h 171450"/>
                <a:gd name="connsiteX8" fmla="*/ 136303 w 171450"/>
                <a:gd name="connsiteY8" fmla="*/ 137731 h 171450"/>
                <a:gd name="connsiteX9" fmla="*/ 93726 w 171450"/>
                <a:gd name="connsiteY9" fmla="*/ 147256 h 171450"/>
                <a:gd name="connsiteX10" fmla="*/ 33623 w 171450"/>
                <a:gd name="connsiteY10" fmla="*/ 147256 h 171450"/>
                <a:gd name="connsiteX11" fmla="*/ 33623 w 171450"/>
                <a:gd name="connsiteY11" fmla="*/ 26575 h 171450"/>
                <a:gd name="connsiteX12" fmla="*/ 98393 w 171450"/>
                <a:gd name="connsiteY12" fmla="*/ 26575 h 171450"/>
                <a:gd name="connsiteX13" fmla="*/ 137446 w 171450"/>
                <a:gd name="connsiteY13" fmla="*/ 36100 h 171450"/>
                <a:gd name="connsiteX14" fmla="*/ 145351 w 171450"/>
                <a:gd name="connsiteY14" fmla="*/ 88964 h 171450"/>
                <a:gd name="connsiteX15" fmla="*/ 136303 w 171450"/>
                <a:gd name="connsiteY15" fmla="*/ 13773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50" h="171450">
                  <a:moveTo>
                    <a:pt x="161163" y="17050"/>
                  </a:moveTo>
                  <a:cubicBezTo>
                    <a:pt x="149733" y="5620"/>
                    <a:pt x="129254" y="0"/>
                    <a:pt x="98584" y="0"/>
                  </a:cubicBezTo>
                  <a:lnTo>
                    <a:pt x="0" y="0"/>
                  </a:lnTo>
                  <a:lnTo>
                    <a:pt x="0" y="174117"/>
                  </a:lnTo>
                  <a:lnTo>
                    <a:pt x="104775" y="174117"/>
                  </a:lnTo>
                  <a:cubicBezTo>
                    <a:pt x="134112" y="174117"/>
                    <a:pt x="153353" y="167545"/>
                    <a:pt x="163735" y="154115"/>
                  </a:cubicBezTo>
                  <a:cubicBezTo>
                    <a:pt x="174117" y="140684"/>
                    <a:pt x="178499" y="116872"/>
                    <a:pt x="178499" y="79915"/>
                  </a:cubicBezTo>
                  <a:cubicBezTo>
                    <a:pt x="178117" y="49149"/>
                    <a:pt x="172593" y="28480"/>
                    <a:pt x="161163" y="17050"/>
                  </a:cubicBezTo>
                  <a:close/>
                  <a:moveTo>
                    <a:pt x="136303" y="137731"/>
                  </a:moveTo>
                  <a:cubicBezTo>
                    <a:pt x="132302" y="142208"/>
                    <a:pt x="121634" y="147256"/>
                    <a:pt x="93726" y="147256"/>
                  </a:cubicBezTo>
                  <a:lnTo>
                    <a:pt x="33623" y="147256"/>
                  </a:lnTo>
                  <a:lnTo>
                    <a:pt x="33623" y="26575"/>
                  </a:lnTo>
                  <a:lnTo>
                    <a:pt x="98393" y="26575"/>
                  </a:lnTo>
                  <a:cubicBezTo>
                    <a:pt x="124587" y="26575"/>
                    <a:pt x="134112" y="31814"/>
                    <a:pt x="137446" y="36100"/>
                  </a:cubicBezTo>
                  <a:cubicBezTo>
                    <a:pt x="140779" y="40386"/>
                    <a:pt x="145351" y="53816"/>
                    <a:pt x="145351" y="88964"/>
                  </a:cubicBezTo>
                  <a:cubicBezTo>
                    <a:pt x="145351" y="120968"/>
                    <a:pt x="140399" y="133064"/>
                    <a:pt x="136303" y="13773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ihandform: Form 23">
              <a:extLst>
                <a:ext uri="{FF2B5EF4-FFF2-40B4-BE49-F238E27FC236}">
                  <a16:creationId xmlns:a16="http://schemas.microsoft.com/office/drawing/2014/main" xmlns="" id="{3FB8F295-8D26-482B-8DAF-3206328D7BDD}"/>
                </a:ext>
              </a:extLst>
            </p:cNvPr>
            <p:cNvSpPr/>
            <p:nvPr/>
          </p:nvSpPr>
          <p:spPr>
            <a:xfrm>
              <a:off x="11363494" y="1255816"/>
              <a:ext cx="171450" cy="171450"/>
            </a:xfrm>
            <a:custGeom>
              <a:avLst/>
              <a:gdLst>
                <a:gd name="connsiteX0" fmla="*/ 167450 w 171450"/>
                <a:gd name="connsiteY0" fmla="*/ 166497 h 171450"/>
                <a:gd name="connsiteX1" fmla="*/ 132969 w 171450"/>
                <a:gd name="connsiteY1" fmla="*/ 105823 h 171450"/>
                <a:gd name="connsiteX2" fmla="*/ 158020 w 171450"/>
                <a:gd name="connsiteY2" fmla="*/ 88582 h 171450"/>
                <a:gd name="connsiteX3" fmla="*/ 166497 w 171450"/>
                <a:gd name="connsiteY3" fmla="*/ 52197 h 171450"/>
                <a:gd name="connsiteX4" fmla="*/ 151067 w 171450"/>
                <a:gd name="connsiteY4" fmla="*/ 11621 h 171450"/>
                <a:gd name="connsiteX5" fmla="*/ 101727 w 171450"/>
                <a:gd name="connsiteY5" fmla="*/ 0 h 171450"/>
                <a:gd name="connsiteX6" fmla="*/ 0 w 171450"/>
                <a:gd name="connsiteY6" fmla="*/ 0 h 171450"/>
                <a:gd name="connsiteX7" fmla="*/ 0 w 171450"/>
                <a:gd name="connsiteY7" fmla="*/ 174784 h 171450"/>
                <a:gd name="connsiteX8" fmla="*/ 33814 w 171450"/>
                <a:gd name="connsiteY8" fmla="*/ 174784 h 171450"/>
                <a:gd name="connsiteX9" fmla="*/ 33814 w 171450"/>
                <a:gd name="connsiteY9" fmla="*/ 108109 h 171450"/>
                <a:gd name="connsiteX10" fmla="*/ 97155 w 171450"/>
                <a:gd name="connsiteY10" fmla="*/ 108109 h 171450"/>
                <a:gd name="connsiteX11" fmla="*/ 135255 w 171450"/>
                <a:gd name="connsiteY11" fmla="*/ 171736 h 171450"/>
                <a:gd name="connsiteX12" fmla="*/ 136874 w 171450"/>
                <a:gd name="connsiteY12" fmla="*/ 174403 h 171450"/>
                <a:gd name="connsiteX13" fmla="*/ 172307 w 171450"/>
                <a:gd name="connsiteY13" fmla="*/ 174403 h 171450"/>
                <a:gd name="connsiteX14" fmla="*/ 126682 w 171450"/>
                <a:gd name="connsiteY14" fmla="*/ 76391 h 171450"/>
                <a:gd name="connsiteX15" fmla="*/ 94202 w 171450"/>
                <a:gd name="connsiteY15" fmla="*/ 81820 h 171450"/>
                <a:gd name="connsiteX16" fmla="*/ 33814 w 171450"/>
                <a:gd name="connsiteY16" fmla="*/ 81820 h 171450"/>
                <a:gd name="connsiteX17" fmla="*/ 33814 w 171450"/>
                <a:gd name="connsiteY17" fmla="*/ 26765 h 171450"/>
                <a:gd name="connsiteX18" fmla="*/ 102013 w 171450"/>
                <a:gd name="connsiteY18" fmla="*/ 26765 h 171450"/>
                <a:gd name="connsiteX19" fmla="*/ 128397 w 171450"/>
                <a:gd name="connsiteY19" fmla="*/ 32004 h 171450"/>
                <a:gd name="connsiteX20" fmla="*/ 133731 w 171450"/>
                <a:gd name="connsiteY20" fmla="*/ 56864 h 171450"/>
                <a:gd name="connsiteX21" fmla="*/ 126682 w 171450"/>
                <a:gd name="connsiteY21" fmla="*/ 7639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1450" h="171450">
                  <a:moveTo>
                    <a:pt x="167450" y="166497"/>
                  </a:moveTo>
                  <a:lnTo>
                    <a:pt x="132969" y="105823"/>
                  </a:lnTo>
                  <a:cubicBezTo>
                    <a:pt x="142780" y="102560"/>
                    <a:pt x="151466" y="96583"/>
                    <a:pt x="158020" y="88582"/>
                  </a:cubicBezTo>
                  <a:cubicBezTo>
                    <a:pt x="163906" y="77377"/>
                    <a:pt x="166821" y="64850"/>
                    <a:pt x="166497" y="52197"/>
                  </a:cubicBezTo>
                  <a:cubicBezTo>
                    <a:pt x="166497" y="33147"/>
                    <a:pt x="161354" y="19622"/>
                    <a:pt x="151067" y="11621"/>
                  </a:cubicBezTo>
                  <a:cubicBezTo>
                    <a:pt x="140779" y="3620"/>
                    <a:pt x="124968" y="0"/>
                    <a:pt x="101727" y="0"/>
                  </a:cubicBezTo>
                  <a:lnTo>
                    <a:pt x="0" y="0"/>
                  </a:lnTo>
                  <a:lnTo>
                    <a:pt x="0" y="174784"/>
                  </a:lnTo>
                  <a:lnTo>
                    <a:pt x="33814" y="174784"/>
                  </a:lnTo>
                  <a:lnTo>
                    <a:pt x="33814" y="108109"/>
                  </a:lnTo>
                  <a:lnTo>
                    <a:pt x="97155" y="108109"/>
                  </a:lnTo>
                  <a:lnTo>
                    <a:pt x="135255" y="171736"/>
                  </a:lnTo>
                  <a:lnTo>
                    <a:pt x="136874" y="174403"/>
                  </a:lnTo>
                  <a:lnTo>
                    <a:pt x="172307" y="174403"/>
                  </a:lnTo>
                  <a:close/>
                  <a:moveTo>
                    <a:pt x="126682" y="76391"/>
                  </a:moveTo>
                  <a:cubicBezTo>
                    <a:pt x="122968" y="78867"/>
                    <a:pt x="114395" y="81820"/>
                    <a:pt x="94202" y="81820"/>
                  </a:cubicBezTo>
                  <a:lnTo>
                    <a:pt x="33814" y="81820"/>
                  </a:lnTo>
                  <a:lnTo>
                    <a:pt x="33814" y="26765"/>
                  </a:lnTo>
                  <a:lnTo>
                    <a:pt x="102013" y="26765"/>
                  </a:lnTo>
                  <a:cubicBezTo>
                    <a:pt x="120205" y="26765"/>
                    <a:pt x="126301" y="30004"/>
                    <a:pt x="128397" y="32004"/>
                  </a:cubicBezTo>
                  <a:cubicBezTo>
                    <a:pt x="130492" y="34004"/>
                    <a:pt x="133731" y="39624"/>
                    <a:pt x="133731" y="56864"/>
                  </a:cubicBezTo>
                  <a:cubicBezTo>
                    <a:pt x="134722" y="64135"/>
                    <a:pt x="132093" y="71431"/>
                    <a:pt x="126682" y="76391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ihandform: Form 24">
              <a:extLst>
                <a:ext uri="{FF2B5EF4-FFF2-40B4-BE49-F238E27FC236}">
                  <a16:creationId xmlns:a16="http://schemas.microsoft.com/office/drawing/2014/main" xmlns="" id="{5ADEC6F1-C4C2-475D-89D0-3B50BA1D1F02}"/>
                </a:ext>
              </a:extLst>
            </p:cNvPr>
            <p:cNvSpPr/>
            <p:nvPr/>
          </p:nvSpPr>
          <p:spPr>
            <a:xfrm>
              <a:off x="11766783" y="1254388"/>
              <a:ext cx="161925" cy="171450"/>
            </a:xfrm>
            <a:custGeom>
              <a:avLst/>
              <a:gdLst>
                <a:gd name="connsiteX0" fmla="*/ 81248 w 161925"/>
                <a:gd name="connsiteY0" fmla="*/ 0 h 171450"/>
                <a:gd name="connsiteX1" fmla="*/ 18859 w 161925"/>
                <a:gd name="connsiteY1" fmla="*/ 10192 h 171450"/>
                <a:gd name="connsiteX2" fmla="*/ 1333 w 161925"/>
                <a:gd name="connsiteY2" fmla="*/ 52007 h 171450"/>
                <a:gd name="connsiteX3" fmla="*/ 57817 w 161925"/>
                <a:gd name="connsiteY3" fmla="*/ 100489 h 171450"/>
                <a:gd name="connsiteX4" fmla="*/ 80296 w 161925"/>
                <a:gd name="connsiteY4" fmla="*/ 101441 h 171450"/>
                <a:gd name="connsiteX5" fmla="*/ 103918 w 161925"/>
                <a:gd name="connsiteY5" fmla="*/ 102394 h 171450"/>
                <a:gd name="connsiteX6" fmla="*/ 126302 w 161925"/>
                <a:gd name="connsiteY6" fmla="*/ 107061 h 171450"/>
                <a:gd name="connsiteX7" fmla="*/ 130397 w 161925"/>
                <a:gd name="connsiteY7" fmla="*/ 122682 h 171450"/>
                <a:gd name="connsiteX8" fmla="*/ 124111 w 161925"/>
                <a:gd name="connsiteY8" fmla="*/ 146304 h 171450"/>
                <a:gd name="connsiteX9" fmla="*/ 78772 w 161925"/>
                <a:gd name="connsiteY9" fmla="*/ 150876 h 171450"/>
                <a:gd name="connsiteX10" fmla="*/ 39433 w 161925"/>
                <a:gd name="connsiteY10" fmla="*/ 146399 h 171450"/>
                <a:gd name="connsiteX11" fmla="*/ 33718 w 161925"/>
                <a:gd name="connsiteY11" fmla="*/ 123825 h 171450"/>
                <a:gd name="connsiteX12" fmla="*/ 33718 w 161925"/>
                <a:gd name="connsiteY12" fmla="*/ 114300 h 171450"/>
                <a:gd name="connsiteX13" fmla="*/ 0 w 161925"/>
                <a:gd name="connsiteY13" fmla="*/ 114300 h 171450"/>
                <a:gd name="connsiteX14" fmla="*/ 0 w 161925"/>
                <a:gd name="connsiteY14" fmla="*/ 119920 h 171450"/>
                <a:gd name="connsiteX15" fmla="*/ 0 w 161925"/>
                <a:gd name="connsiteY15" fmla="*/ 127159 h 171450"/>
                <a:gd name="connsiteX16" fmla="*/ 17050 w 161925"/>
                <a:gd name="connsiteY16" fmla="*/ 167640 h 171450"/>
                <a:gd name="connsiteX17" fmla="*/ 77914 w 161925"/>
                <a:gd name="connsiteY17" fmla="*/ 177165 h 171450"/>
                <a:gd name="connsiteX18" fmla="*/ 145637 w 161925"/>
                <a:gd name="connsiteY18" fmla="*/ 167640 h 171450"/>
                <a:gd name="connsiteX19" fmla="*/ 162973 w 161925"/>
                <a:gd name="connsiteY19" fmla="*/ 123920 h 171450"/>
                <a:gd name="connsiteX20" fmla="*/ 147923 w 161925"/>
                <a:gd name="connsiteY20" fmla="*/ 83630 h 171450"/>
                <a:gd name="connsiteX21" fmla="*/ 85344 w 161925"/>
                <a:gd name="connsiteY21" fmla="*/ 73152 h 171450"/>
                <a:gd name="connsiteX22" fmla="*/ 39433 w 161925"/>
                <a:gd name="connsiteY22" fmla="*/ 67913 h 171450"/>
                <a:gd name="connsiteX23" fmla="*/ 34290 w 161925"/>
                <a:gd name="connsiteY23" fmla="*/ 48863 h 171450"/>
                <a:gd name="connsiteX24" fmla="*/ 41529 w 161925"/>
                <a:gd name="connsiteY24" fmla="*/ 31147 h 171450"/>
                <a:gd name="connsiteX25" fmla="*/ 85154 w 161925"/>
                <a:gd name="connsiteY25" fmla="*/ 26670 h 171450"/>
                <a:gd name="connsiteX26" fmla="*/ 120396 w 161925"/>
                <a:gd name="connsiteY26" fmla="*/ 31052 h 171450"/>
                <a:gd name="connsiteX27" fmla="*/ 126016 w 161925"/>
                <a:gd name="connsiteY27" fmla="*/ 51435 h 171450"/>
                <a:gd name="connsiteX28" fmla="*/ 126016 w 161925"/>
                <a:gd name="connsiteY28" fmla="*/ 56960 h 171450"/>
                <a:gd name="connsiteX29" fmla="*/ 159639 w 161925"/>
                <a:gd name="connsiteY29" fmla="*/ 56960 h 171450"/>
                <a:gd name="connsiteX30" fmla="*/ 159639 w 161925"/>
                <a:gd name="connsiteY30" fmla="*/ 51435 h 171450"/>
                <a:gd name="connsiteX31" fmla="*/ 143351 w 161925"/>
                <a:gd name="connsiteY31" fmla="*/ 9525 h 171450"/>
                <a:gd name="connsiteX32" fmla="*/ 81534 w 161925"/>
                <a:gd name="connsiteY32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61925" h="171450">
                  <a:moveTo>
                    <a:pt x="81248" y="0"/>
                  </a:moveTo>
                  <a:cubicBezTo>
                    <a:pt x="50197" y="0"/>
                    <a:pt x="29813" y="3334"/>
                    <a:pt x="18859" y="10192"/>
                  </a:cubicBezTo>
                  <a:cubicBezTo>
                    <a:pt x="7906" y="17050"/>
                    <a:pt x="1333" y="31528"/>
                    <a:pt x="1333" y="52007"/>
                  </a:cubicBezTo>
                  <a:cubicBezTo>
                    <a:pt x="1333" y="72485"/>
                    <a:pt x="10858" y="97917"/>
                    <a:pt x="57817" y="100489"/>
                  </a:cubicBezTo>
                  <a:lnTo>
                    <a:pt x="80296" y="101441"/>
                  </a:lnTo>
                  <a:lnTo>
                    <a:pt x="103918" y="102394"/>
                  </a:lnTo>
                  <a:cubicBezTo>
                    <a:pt x="111671" y="101835"/>
                    <a:pt x="119424" y="103451"/>
                    <a:pt x="126302" y="107061"/>
                  </a:cubicBezTo>
                  <a:cubicBezTo>
                    <a:pt x="129664" y="111530"/>
                    <a:pt x="131131" y="117139"/>
                    <a:pt x="130397" y="122682"/>
                  </a:cubicBezTo>
                  <a:cubicBezTo>
                    <a:pt x="130397" y="140018"/>
                    <a:pt x="126492" y="144875"/>
                    <a:pt x="124111" y="146304"/>
                  </a:cubicBezTo>
                  <a:cubicBezTo>
                    <a:pt x="121729" y="147733"/>
                    <a:pt x="111538" y="150876"/>
                    <a:pt x="78772" y="150876"/>
                  </a:cubicBezTo>
                  <a:cubicBezTo>
                    <a:pt x="50197" y="150876"/>
                    <a:pt x="42005" y="148114"/>
                    <a:pt x="39433" y="146399"/>
                  </a:cubicBezTo>
                  <a:cubicBezTo>
                    <a:pt x="36862" y="144685"/>
                    <a:pt x="33718" y="140303"/>
                    <a:pt x="33718" y="123825"/>
                  </a:cubicBezTo>
                  <a:lnTo>
                    <a:pt x="33718" y="114300"/>
                  </a:lnTo>
                  <a:lnTo>
                    <a:pt x="0" y="114300"/>
                  </a:lnTo>
                  <a:lnTo>
                    <a:pt x="0" y="119920"/>
                  </a:lnTo>
                  <a:lnTo>
                    <a:pt x="0" y="127159"/>
                  </a:lnTo>
                  <a:cubicBezTo>
                    <a:pt x="0" y="146971"/>
                    <a:pt x="5715" y="160687"/>
                    <a:pt x="17050" y="167640"/>
                  </a:cubicBezTo>
                  <a:cubicBezTo>
                    <a:pt x="28384" y="174593"/>
                    <a:pt x="47530" y="177165"/>
                    <a:pt x="77914" y="177165"/>
                  </a:cubicBezTo>
                  <a:cubicBezTo>
                    <a:pt x="112776" y="177165"/>
                    <a:pt x="135064" y="174022"/>
                    <a:pt x="145637" y="167640"/>
                  </a:cubicBezTo>
                  <a:cubicBezTo>
                    <a:pt x="156210" y="161258"/>
                    <a:pt x="162973" y="146018"/>
                    <a:pt x="162973" y="123920"/>
                  </a:cubicBezTo>
                  <a:cubicBezTo>
                    <a:pt x="162973" y="101822"/>
                    <a:pt x="157448" y="90107"/>
                    <a:pt x="147923" y="83630"/>
                  </a:cubicBezTo>
                  <a:cubicBezTo>
                    <a:pt x="138398" y="77153"/>
                    <a:pt x="118015" y="74105"/>
                    <a:pt x="85344" y="73152"/>
                  </a:cubicBezTo>
                  <a:cubicBezTo>
                    <a:pt x="52673" y="72200"/>
                    <a:pt x="42100" y="69342"/>
                    <a:pt x="39433" y="67913"/>
                  </a:cubicBezTo>
                  <a:cubicBezTo>
                    <a:pt x="36767" y="66485"/>
                    <a:pt x="34290" y="59150"/>
                    <a:pt x="34290" y="48863"/>
                  </a:cubicBezTo>
                  <a:cubicBezTo>
                    <a:pt x="34290" y="34766"/>
                    <a:pt x="39719" y="32099"/>
                    <a:pt x="41529" y="31147"/>
                  </a:cubicBezTo>
                  <a:cubicBezTo>
                    <a:pt x="45720" y="29051"/>
                    <a:pt x="56674" y="26670"/>
                    <a:pt x="85154" y="26670"/>
                  </a:cubicBezTo>
                  <a:cubicBezTo>
                    <a:pt x="109919" y="26670"/>
                    <a:pt x="117824" y="29432"/>
                    <a:pt x="120396" y="31052"/>
                  </a:cubicBezTo>
                  <a:cubicBezTo>
                    <a:pt x="122968" y="32671"/>
                    <a:pt x="126016" y="40577"/>
                    <a:pt x="126016" y="51435"/>
                  </a:cubicBezTo>
                  <a:lnTo>
                    <a:pt x="126016" y="56960"/>
                  </a:lnTo>
                  <a:lnTo>
                    <a:pt x="159639" y="56960"/>
                  </a:lnTo>
                  <a:lnTo>
                    <a:pt x="159639" y="51435"/>
                  </a:lnTo>
                  <a:cubicBezTo>
                    <a:pt x="159639" y="30480"/>
                    <a:pt x="154114" y="16383"/>
                    <a:pt x="143351" y="9525"/>
                  </a:cubicBezTo>
                  <a:cubicBezTo>
                    <a:pt x="132588" y="2667"/>
                    <a:pt x="112966" y="0"/>
                    <a:pt x="81534" y="0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ihandform: Form 12">
              <a:extLst>
                <a:ext uri="{FF2B5EF4-FFF2-40B4-BE49-F238E27FC236}">
                  <a16:creationId xmlns:a16="http://schemas.microsoft.com/office/drawing/2014/main" xmlns="" id="{F7E1ABDF-6DDB-4851-B4DA-4295735DC1A0}"/>
                </a:ext>
              </a:extLst>
            </p:cNvPr>
            <p:cNvSpPr/>
            <p:nvPr userDrawn="1"/>
          </p:nvSpPr>
          <p:spPr>
            <a:xfrm>
              <a:off x="9420775" y="901487"/>
              <a:ext cx="638175" cy="619125"/>
            </a:xfrm>
            <a:custGeom>
              <a:avLst/>
              <a:gdLst>
                <a:gd name="connsiteX0" fmla="*/ 320707 w 638175"/>
                <a:gd name="connsiteY0" fmla="*/ 627697 h 619125"/>
                <a:gd name="connsiteX1" fmla="*/ 0 w 638175"/>
                <a:gd name="connsiteY1" fmla="*/ 306991 h 619125"/>
                <a:gd name="connsiteX2" fmla="*/ 0 w 638175"/>
                <a:gd name="connsiteY2" fmla="*/ 294704 h 619125"/>
                <a:gd name="connsiteX3" fmla="*/ 265081 w 638175"/>
                <a:gd name="connsiteY3" fmla="*/ 427577 h 619125"/>
                <a:gd name="connsiteX4" fmla="*/ 265081 w 638175"/>
                <a:gd name="connsiteY4" fmla="*/ 427577 h 619125"/>
                <a:gd name="connsiteX5" fmla="*/ 319087 w 638175"/>
                <a:gd name="connsiteY5" fmla="*/ 439293 h 619125"/>
                <a:gd name="connsiteX6" fmla="*/ 450913 w 638175"/>
                <a:gd name="connsiteY6" fmla="*/ 307467 h 619125"/>
                <a:gd name="connsiteX7" fmla="*/ 450913 w 638175"/>
                <a:gd name="connsiteY7" fmla="*/ 307277 h 619125"/>
                <a:gd name="connsiteX8" fmla="*/ 449961 w 638175"/>
                <a:gd name="connsiteY8" fmla="*/ 292703 h 619125"/>
                <a:gd name="connsiteX9" fmla="*/ 449961 w 638175"/>
                <a:gd name="connsiteY9" fmla="*/ 290894 h 619125"/>
                <a:gd name="connsiteX10" fmla="*/ 413385 w 638175"/>
                <a:gd name="connsiteY10" fmla="*/ 0 h 619125"/>
                <a:gd name="connsiteX11" fmla="*/ 627588 w 638175"/>
                <a:gd name="connsiteY11" fmla="*/ 399779 h 619125"/>
                <a:gd name="connsiteX12" fmla="*/ 320707 w 638175"/>
                <a:gd name="connsiteY12" fmla="*/ 627697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38175" h="619125">
                  <a:moveTo>
                    <a:pt x="320707" y="627697"/>
                  </a:moveTo>
                  <a:cubicBezTo>
                    <a:pt x="143672" y="627488"/>
                    <a:pt x="210" y="484025"/>
                    <a:pt x="0" y="306991"/>
                  </a:cubicBezTo>
                  <a:cubicBezTo>
                    <a:pt x="0" y="302895"/>
                    <a:pt x="0" y="298799"/>
                    <a:pt x="0" y="294704"/>
                  </a:cubicBezTo>
                  <a:lnTo>
                    <a:pt x="265081" y="427577"/>
                  </a:lnTo>
                  <a:lnTo>
                    <a:pt x="265081" y="427577"/>
                  </a:lnTo>
                  <a:cubicBezTo>
                    <a:pt x="282036" y="435305"/>
                    <a:pt x="300454" y="439300"/>
                    <a:pt x="319087" y="439293"/>
                  </a:cubicBezTo>
                  <a:cubicBezTo>
                    <a:pt x="391893" y="439293"/>
                    <a:pt x="450913" y="380272"/>
                    <a:pt x="450913" y="307467"/>
                  </a:cubicBezTo>
                  <a:cubicBezTo>
                    <a:pt x="450913" y="307403"/>
                    <a:pt x="450913" y="307340"/>
                    <a:pt x="450913" y="307277"/>
                  </a:cubicBezTo>
                  <a:cubicBezTo>
                    <a:pt x="450878" y="302404"/>
                    <a:pt x="450560" y="297538"/>
                    <a:pt x="449961" y="292703"/>
                  </a:cubicBezTo>
                  <a:lnTo>
                    <a:pt x="449961" y="290894"/>
                  </a:lnTo>
                  <a:lnTo>
                    <a:pt x="413385" y="0"/>
                  </a:lnTo>
                  <a:cubicBezTo>
                    <a:pt x="582931" y="51245"/>
                    <a:pt x="678833" y="230232"/>
                    <a:pt x="627588" y="399779"/>
                  </a:cubicBezTo>
                  <a:cubicBezTo>
                    <a:pt x="586695" y="535075"/>
                    <a:pt x="462048" y="627650"/>
                    <a:pt x="320707" y="627697"/>
                  </a:cubicBezTo>
                  <a:close/>
                </a:path>
              </a:pathLst>
            </a:custGeom>
            <a:solidFill>
              <a:srgbClr val="8E969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ihandform: Form 14">
              <a:extLst>
                <a:ext uri="{FF2B5EF4-FFF2-40B4-BE49-F238E27FC236}">
                  <a16:creationId xmlns:a16="http://schemas.microsoft.com/office/drawing/2014/main" xmlns="" id="{9157284D-8B3C-486F-8C61-8BB4FA8FE9AA}"/>
                </a:ext>
              </a:extLst>
            </p:cNvPr>
            <p:cNvSpPr/>
            <p:nvPr userDrawn="1"/>
          </p:nvSpPr>
          <p:spPr>
            <a:xfrm>
              <a:off x="9429157" y="887675"/>
              <a:ext cx="361950" cy="333375"/>
            </a:xfrm>
            <a:custGeom>
              <a:avLst/>
              <a:gdLst>
                <a:gd name="connsiteX0" fmla="*/ 0 w 361950"/>
                <a:gd name="connsiteY0" fmla="*/ 247270 h 333375"/>
                <a:gd name="connsiteX1" fmla="*/ 311182 w 361950"/>
                <a:gd name="connsiteY1" fmla="*/ 1 h 333375"/>
                <a:gd name="connsiteX2" fmla="*/ 338519 w 361950"/>
                <a:gd name="connsiteY2" fmla="*/ 1144 h 333375"/>
                <a:gd name="connsiteX3" fmla="*/ 363665 w 361950"/>
                <a:gd name="connsiteY3" fmla="*/ 200597 h 333375"/>
                <a:gd name="connsiteX4" fmla="*/ 310896 w 361950"/>
                <a:gd name="connsiteY4" fmla="*/ 189453 h 333375"/>
                <a:gd name="connsiteX5" fmla="*/ 179261 w 361950"/>
                <a:gd name="connsiteY5" fmla="*/ 321088 h 333375"/>
                <a:gd name="connsiteX6" fmla="*/ 180499 w 361950"/>
                <a:gd name="connsiteY6" fmla="*/ 33756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1950" h="333375">
                  <a:moveTo>
                    <a:pt x="0" y="247270"/>
                  </a:moveTo>
                  <a:cubicBezTo>
                    <a:pt x="33334" y="102340"/>
                    <a:pt x="162469" y="-272"/>
                    <a:pt x="311182" y="1"/>
                  </a:cubicBezTo>
                  <a:cubicBezTo>
                    <a:pt x="320707" y="1"/>
                    <a:pt x="329470" y="1"/>
                    <a:pt x="338519" y="1144"/>
                  </a:cubicBezTo>
                  <a:lnTo>
                    <a:pt x="363665" y="200597"/>
                  </a:lnTo>
                  <a:cubicBezTo>
                    <a:pt x="347043" y="193246"/>
                    <a:pt x="329070" y="189450"/>
                    <a:pt x="310896" y="189453"/>
                  </a:cubicBezTo>
                  <a:cubicBezTo>
                    <a:pt x="238239" y="189558"/>
                    <a:pt x="179365" y="248432"/>
                    <a:pt x="179261" y="321088"/>
                  </a:cubicBezTo>
                  <a:cubicBezTo>
                    <a:pt x="179306" y="326602"/>
                    <a:pt x="179720" y="332108"/>
                    <a:pt x="180499" y="337567"/>
                  </a:cubicBezTo>
                  <a:close/>
                </a:path>
              </a:pathLst>
            </a:custGeom>
            <a:solidFill>
              <a:srgbClr val="A72B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65893" name="Picture 5" descr="Bildergebnis für logo wko geschäftsstelle bau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85" y="2492671"/>
            <a:ext cx="1440000" cy="545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19486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576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AT" sz="3000" b="1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90" name="Rechteck 89"/>
          <p:cNvSpPr/>
          <p:nvPr/>
        </p:nvSpPr>
        <p:spPr>
          <a:xfrm>
            <a:off x="1023048" y="3864450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1" name="Rechteck 90"/>
          <p:cNvSpPr/>
          <p:nvPr/>
        </p:nvSpPr>
        <p:spPr>
          <a:xfrm>
            <a:off x="3208134" y="3864450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5393220" y="3864450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3" name="Rechteck 92"/>
          <p:cNvSpPr/>
          <p:nvPr/>
        </p:nvSpPr>
        <p:spPr>
          <a:xfrm>
            <a:off x="7578306" y="3864450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9763394" y="3864450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1023048" y="5248771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3208134" y="5248771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/>
        </p:nvSpPr>
        <p:spPr>
          <a:xfrm>
            <a:off x="5393220" y="5248771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>
          <a:xfrm>
            <a:off x="7578306" y="5248771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9" name="Rechteck 98"/>
          <p:cNvSpPr/>
          <p:nvPr/>
        </p:nvSpPr>
        <p:spPr>
          <a:xfrm>
            <a:off x="9763394" y="5248771"/>
            <a:ext cx="2088000" cy="131236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66924" name="Rechteck 166923"/>
          <p:cNvSpPr/>
          <p:nvPr/>
        </p:nvSpPr>
        <p:spPr>
          <a:xfrm>
            <a:off x="1023048" y="1989139"/>
            <a:ext cx="2088000" cy="18033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3208134" y="1989139"/>
            <a:ext cx="2088000" cy="18033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5393220" y="1989139"/>
            <a:ext cx="2088000" cy="18033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7578306" y="1989139"/>
            <a:ext cx="2088000" cy="18033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9763394" y="1989139"/>
            <a:ext cx="2088000" cy="18033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93EDA4F4-0DB4-49FE-AB9F-CEB520031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62F75-52E4-4E2C-B34F-A32CE8B1CC48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B2CA7F8-7D96-4D3A-B073-2234A0E5FE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89455"/>
            <a:ext cx="11522075" cy="438582"/>
          </a:xfrm>
        </p:spPr>
        <p:txBody>
          <a:bodyPr/>
          <a:lstStyle/>
          <a:p>
            <a:r>
              <a:rPr lang="de-AT" dirty="0" err="1"/>
              <a:t>Dialogue</a:t>
            </a:r>
            <a:r>
              <a:rPr lang="de-AT" dirty="0"/>
              <a:t> </a:t>
            </a:r>
            <a:r>
              <a:rPr lang="de-AT" dirty="0" err="1"/>
              <a:t>forum</a:t>
            </a:r>
            <a:r>
              <a:rPr lang="de-AT" dirty="0"/>
              <a:t> </a:t>
            </a:r>
            <a:r>
              <a:rPr lang="de-AT" dirty="0" err="1"/>
              <a:t>construction</a:t>
            </a:r>
            <a:r>
              <a:rPr lang="de-AT" dirty="0"/>
              <a:t> – 5 </a:t>
            </a:r>
            <a:r>
              <a:rPr lang="de-AT" dirty="0" err="1"/>
              <a:t>areas</a:t>
            </a:r>
            <a:r>
              <a:rPr lang="de-AT" dirty="0"/>
              <a:t>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activity</a:t>
            </a:r>
            <a:endParaRPr lang="de-AT" dirty="0"/>
          </a:p>
        </p:txBody>
      </p:sp>
      <p:sp>
        <p:nvSpPr>
          <p:cNvPr id="40" name="Textplatzhalter 11"/>
          <p:cNvSpPr txBox="1">
            <a:spLocks/>
          </p:cNvSpPr>
          <p:nvPr/>
        </p:nvSpPr>
        <p:spPr>
          <a:xfrm>
            <a:off x="1095048" y="2108399"/>
            <a:ext cx="1944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>
                <a:solidFill>
                  <a:srgbClr val="7B7C7E"/>
                </a:solidFill>
              </a:rPr>
              <a:t>Subproject 1 </a:t>
            </a:r>
          </a:p>
        </p:txBody>
      </p:sp>
      <p:sp>
        <p:nvSpPr>
          <p:cNvPr id="48" name="Textplatzhalter 11"/>
          <p:cNvSpPr txBox="1">
            <a:spLocks/>
          </p:cNvSpPr>
          <p:nvPr/>
        </p:nvSpPr>
        <p:spPr>
          <a:xfrm>
            <a:off x="1095048" y="2412445"/>
            <a:ext cx="1944000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>
                <a:solidFill>
                  <a:schemeClr val="accent1"/>
                </a:solidFill>
              </a:rPr>
              <a:t>REVISION OF STANDARDS</a:t>
            </a:r>
          </a:p>
          <a:p>
            <a:r>
              <a:rPr lang="en-GB" sz="1600">
                <a:solidFill>
                  <a:schemeClr val="accent1"/>
                </a:solidFill>
              </a:rPr>
              <a:t>Basing on the proposals from dialogue forum construction</a:t>
            </a:r>
          </a:p>
        </p:txBody>
      </p:sp>
      <p:sp>
        <p:nvSpPr>
          <p:cNvPr id="59" name="Textplatzhalter 11"/>
          <p:cNvSpPr txBox="1">
            <a:spLocks/>
          </p:cNvSpPr>
          <p:nvPr/>
        </p:nvSpPr>
        <p:spPr>
          <a:xfrm>
            <a:off x="3280134" y="2108399"/>
            <a:ext cx="1944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>
                <a:solidFill>
                  <a:srgbClr val="7B7C7E"/>
                </a:solidFill>
              </a:rPr>
              <a:t>Subproject 2 </a:t>
            </a:r>
          </a:p>
        </p:txBody>
      </p:sp>
      <p:sp>
        <p:nvSpPr>
          <p:cNvPr id="60" name="Textplatzhalter 11"/>
          <p:cNvSpPr txBox="1">
            <a:spLocks/>
          </p:cNvSpPr>
          <p:nvPr/>
        </p:nvSpPr>
        <p:spPr>
          <a:xfrm>
            <a:off x="3280134" y="2412445"/>
            <a:ext cx="19440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>
                <a:solidFill>
                  <a:schemeClr val="accent1"/>
                </a:solidFill>
              </a:rPr>
              <a:t>FUERTHER DEVELOPMENT OF STANDARDS</a:t>
            </a:r>
            <a:endParaRPr lang="en-GB" sz="1600">
              <a:solidFill>
                <a:schemeClr val="accent1"/>
              </a:solidFill>
            </a:endParaRPr>
          </a:p>
        </p:txBody>
      </p:sp>
      <p:sp>
        <p:nvSpPr>
          <p:cNvPr id="63" name="Textplatzhalter 11"/>
          <p:cNvSpPr txBox="1">
            <a:spLocks/>
          </p:cNvSpPr>
          <p:nvPr/>
        </p:nvSpPr>
        <p:spPr>
          <a:xfrm>
            <a:off x="5465220" y="2108399"/>
            <a:ext cx="1944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>
                <a:solidFill>
                  <a:srgbClr val="7B7C7E"/>
                </a:solidFill>
              </a:rPr>
              <a:t>Subproject 3 </a:t>
            </a:r>
          </a:p>
        </p:txBody>
      </p:sp>
      <p:sp>
        <p:nvSpPr>
          <p:cNvPr id="64" name="Textplatzhalter 11"/>
          <p:cNvSpPr txBox="1">
            <a:spLocks/>
          </p:cNvSpPr>
          <p:nvPr/>
        </p:nvSpPr>
        <p:spPr>
          <a:xfrm>
            <a:off x="5465220" y="2412445"/>
            <a:ext cx="19440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>
                <a:solidFill>
                  <a:schemeClr val="accent1"/>
                </a:solidFill>
              </a:rPr>
              <a:t>SOLUTION FOR THE ISSUE OF PARALLEL STANDARDS</a:t>
            </a:r>
            <a:endParaRPr lang="en-GB" sz="1600">
              <a:solidFill>
                <a:schemeClr val="accent1"/>
              </a:solidFill>
            </a:endParaRPr>
          </a:p>
        </p:txBody>
      </p:sp>
      <p:sp>
        <p:nvSpPr>
          <p:cNvPr id="67" name="Textplatzhalter 11"/>
          <p:cNvSpPr txBox="1">
            <a:spLocks/>
          </p:cNvSpPr>
          <p:nvPr/>
        </p:nvSpPr>
        <p:spPr>
          <a:xfrm>
            <a:off x="7650306" y="2108399"/>
            <a:ext cx="1944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>
                <a:solidFill>
                  <a:srgbClr val="7B7C7E"/>
                </a:solidFill>
              </a:rPr>
              <a:t>Subproject 4 </a:t>
            </a:r>
          </a:p>
        </p:txBody>
      </p:sp>
      <p:sp>
        <p:nvSpPr>
          <p:cNvPr id="68" name="Textplatzhalter 11"/>
          <p:cNvSpPr txBox="1">
            <a:spLocks/>
          </p:cNvSpPr>
          <p:nvPr/>
        </p:nvSpPr>
        <p:spPr>
          <a:xfrm>
            <a:off x="7650306" y="2412445"/>
            <a:ext cx="19440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>
                <a:solidFill>
                  <a:schemeClr val="accent1"/>
                </a:solidFill>
              </a:rPr>
              <a:t>REVIEW AND AMENDMENT OF CONSTRUCTION REGULATIONS</a:t>
            </a:r>
            <a:endParaRPr lang="en-GB" sz="1600">
              <a:solidFill>
                <a:schemeClr val="accent1"/>
              </a:solidFill>
            </a:endParaRPr>
          </a:p>
        </p:txBody>
      </p:sp>
      <p:sp>
        <p:nvSpPr>
          <p:cNvPr id="71" name="Textplatzhalter 11"/>
          <p:cNvSpPr txBox="1">
            <a:spLocks/>
          </p:cNvSpPr>
          <p:nvPr/>
        </p:nvSpPr>
        <p:spPr>
          <a:xfrm>
            <a:off x="9835394" y="2108399"/>
            <a:ext cx="19440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>
                <a:solidFill>
                  <a:srgbClr val="7B7C7E"/>
                </a:solidFill>
              </a:rPr>
              <a:t>Subproject 5 </a:t>
            </a:r>
          </a:p>
        </p:txBody>
      </p:sp>
      <p:sp>
        <p:nvSpPr>
          <p:cNvPr id="72" name="Textplatzhalter 11"/>
          <p:cNvSpPr txBox="1">
            <a:spLocks/>
          </p:cNvSpPr>
          <p:nvPr/>
        </p:nvSpPr>
        <p:spPr>
          <a:xfrm>
            <a:off x="9835394" y="2412445"/>
            <a:ext cx="19440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>
                <a:solidFill>
                  <a:schemeClr val="accent1"/>
                </a:solidFill>
              </a:rPr>
              <a:t>LIABILITY REGULATIONS</a:t>
            </a:r>
            <a:endParaRPr lang="en-GB" sz="1600">
              <a:solidFill>
                <a:schemeClr val="accent1"/>
              </a:solidFill>
            </a:endParaRPr>
          </a:p>
        </p:txBody>
      </p:sp>
      <p:sp>
        <p:nvSpPr>
          <p:cNvPr id="50" name="Textplatzhalter 11"/>
          <p:cNvSpPr txBox="1">
            <a:spLocks/>
          </p:cNvSpPr>
          <p:nvPr/>
        </p:nvSpPr>
        <p:spPr>
          <a:xfrm>
            <a:off x="1095048" y="4006498"/>
            <a:ext cx="19440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Implementation of the recommendations, critical reflexion</a:t>
            </a:r>
          </a:p>
        </p:txBody>
      </p:sp>
      <p:sp>
        <p:nvSpPr>
          <p:cNvPr id="57" name="Textplatzhalter 11"/>
          <p:cNvSpPr txBox="1">
            <a:spLocks/>
          </p:cNvSpPr>
          <p:nvPr/>
        </p:nvSpPr>
        <p:spPr>
          <a:xfrm>
            <a:off x="334963" y="4006498"/>
            <a:ext cx="69713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 err="1"/>
              <a:t>Aim</a:t>
            </a:r>
            <a:endParaRPr lang="de-DE" sz="1600" b="1" dirty="0"/>
          </a:p>
        </p:txBody>
      </p:sp>
      <p:sp>
        <p:nvSpPr>
          <p:cNvPr id="61" name="Textplatzhalter 11"/>
          <p:cNvSpPr txBox="1">
            <a:spLocks/>
          </p:cNvSpPr>
          <p:nvPr/>
        </p:nvSpPr>
        <p:spPr>
          <a:xfrm>
            <a:off x="3280134" y="4006498"/>
            <a:ext cx="19440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Systematic and sustainanble improvement </a:t>
            </a:r>
          </a:p>
        </p:txBody>
      </p:sp>
      <p:sp>
        <p:nvSpPr>
          <p:cNvPr id="65" name="Textplatzhalter 11"/>
          <p:cNvSpPr txBox="1">
            <a:spLocks/>
          </p:cNvSpPr>
          <p:nvPr/>
        </p:nvSpPr>
        <p:spPr>
          <a:xfrm>
            <a:off x="5465220" y="4006498"/>
            <a:ext cx="1944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Horizontal co-ordination</a:t>
            </a:r>
          </a:p>
        </p:txBody>
      </p:sp>
      <p:sp>
        <p:nvSpPr>
          <p:cNvPr id="69" name="Textplatzhalter 11"/>
          <p:cNvSpPr txBox="1">
            <a:spLocks/>
          </p:cNvSpPr>
          <p:nvPr/>
        </p:nvSpPr>
        <p:spPr>
          <a:xfrm>
            <a:off x="7650306" y="4006498"/>
            <a:ext cx="19440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Involvement of the provincial government; Review on the parliamentary level</a:t>
            </a:r>
          </a:p>
        </p:txBody>
      </p:sp>
      <p:sp>
        <p:nvSpPr>
          <p:cNvPr id="73" name="Textplatzhalter 11"/>
          <p:cNvSpPr txBox="1">
            <a:spLocks/>
          </p:cNvSpPr>
          <p:nvPr/>
        </p:nvSpPr>
        <p:spPr>
          <a:xfrm>
            <a:off x="9835394" y="4006498"/>
            <a:ext cx="1944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Legal alignment</a:t>
            </a:r>
          </a:p>
        </p:txBody>
      </p:sp>
      <p:sp>
        <p:nvSpPr>
          <p:cNvPr id="51" name="Textplatzhalter 11"/>
          <p:cNvSpPr txBox="1">
            <a:spLocks/>
          </p:cNvSpPr>
          <p:nvPr/>
        </p:nvSpPr>
        <p:spPr>
          <a:xfrm>
            <a:off x="1095048" y="5390819"/>
            <a:ext cx="1944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Austrian Standards</a:t>
            </a:r>
          </a:p>
        </p:txBody>
      </p:sp>
      <p:sp>
        <p:nvSpPr>
          <p:cNvPr id="58" name="Textplatzhalter 11"/>
          <p:cNvSpPr txBox="1">
            <a:spLocks/>
          </p:cNvSpPr>
          <p:nvPr/>
        </p:nvSpPr>
        <p:spPr>
          <a:xfrm>
            <a:off x="334963" y="5390819"/>
            <a:ext cx="69713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/>
              <a:t>Lead</a:t>
            </a:r>
          </a:p>
        </p:txBody>
      </p:sp>
      <p:sp>
        <p:nvSpPr>
          <p:cNvPr id="62" name="Textplatzhalter 11"/>
          <p:cNvSpPr txBox="1">
            <a:spLocks/>
          </p:cNvSpPr>
          <p:nvPr/>
        </p:nvSpPr>
        <p:spPr>
          <a:xfrm>
            <a:off x="3280134" y="5390819"/>
            <a:ext cx="19440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Austrian Standards</a:t>
            </a:r>
          </a:p>
        </p:txBody>
      </p:sp>
      <p:sp>
        <p:nvSpPr>
          <p:cNvPr id="66" name="Textplatzhalter 11"/>
          <p:cNvSpPr txBox="1">
            <a:spLocks/>
          </p:cNvSpPr>
          <p:nvPr/>
        </p:nvSpPr>
        <p:spPr>
          <a:xfrm>
            <a:off x="5465220" y="5390819"/>
            <a:ext cx="19440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OIB – Österreichisches Institut für Bautechnik</a:t>
            </a:r>
          </a:p>
        </p:txBody>
      </p:sp>
      <p:sp>
        <p:nvSpPr>
          <p:cNvPr id="70" name="Textplatzhalter 11"/>
          <p:cNvSpPr txBox="1">
            <a:spLocks/>
          </p:cNvSpPr>
          <p:nvPr/>
        </p:nvSpPr>
        <p:spPr>
          <a:xfrm>
            <a:off x="7650306" y="5390819"/>
            <a:ext cx="19440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GS Bau, WKÖ,</a:t>
            </a:r>
            <a:br>
              <a:rPr lang="en-GB" sz="1600"/>
            </a:br>
            <a:r>
              <a:rPr lang="en-GB" sz="1600"/>
              <a:t>BI Baunebengewerbe,</a:t>
            </a:r>
            <a:br>
              <a:rPr lang="en-GB" sz="1600"/>
            </a:br>
            <a:r>
              <a:rPr lang="en-GB" sz="1600"/>
              <a:t>FV Steine Keramik</a:t>
            </a:r>
          </a:p>
        </p:txBody>
      </p:sp>
      <p:sp>
        <p:nvSpPr>
          <p:cNvPr id="74" name="Textplatzhalter 11"/>
          <p:cNvSpPr txBox="1">
            <a:spLocks/>
          </p:cNvSpPr>
          <p:nvPr/>
        </p:nvSpPr>
        <p:spPr>
          <a:xfrm>
            <a:off x="9835394" y="5390819"/>
            <a:ext cx="194400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 spc="3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GS Bau, WKÖ,</a:t>
            </a:r>
            <a:br>
              <a:rPr lang="en-GB" sz="1600"/>
            </a:br>
            <a:r>
              <a:rPr lang="en-GB" sz="1600"/>
              <a:t>BI Baunebengewerbe,</a:t>
            </a:r>
            <a:br>
              <a:rPr lang="en-GB" sz="1600"/>
            </a:br>
            <a:r>
              <a:rPr lang="en-GB" sz="1600"/>
              <a:t>FV Steine Keramik</a:t>
            </a:r>
          </a:p>
        </p:txBody>
      </p:sp>
      <p:cxnSp>
        <p:nvCxnSpPr>
          <p:cNvPr id="166926" name="Gerade Verbindung 166925"/>
          <p:cNvCxnSpPr/>
          <p:nvPr/>
        </p:nvCxnSpPr>
        <p:spPr>
          <a:xfrm flipH="1">
            <a:off x="334963" y="3828473"/>
            <a:ext cx="11516431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80"/>
          <p:cNvCxnSpPr/>
          <p:nvPr/>
        </p:nvCxnSpPr>
        <p:spPr>
          <a:xfrm flipH="1">
            <a:off x="334963" y="5212793"/>
            <a:ext cx="11516431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Gruppieren 102"/>
          <p:cNvGrpSpPr/>
          <p:nvPr/>
        </p:nvGrpSpPr>
        <p:grpSpPr>
          <a:xfrm>
            <a:off x="334963" y="4308725"/>
            <a:ext cx="463946" cy="465700"/>
            <a:chOff x="3719749" y="3638828"/>
            <a:chExt cx="694781" cy="697407"/>
          </a:xfrm>
          <a:solidFill>
            <a:schemeClr val="tx1"/>
          </a:solidFill>
        </p:grpSpPr>
        <p:sp>
          <p:nvSpPr>
            <p:cNvPr id="104" name="Freihandform: Form 34">
              <a:extLst>
                <a:ext uri="{FF2B5EF4-FFF2-40B4-BE49-F238E27FC236}">
                  <a16:creationId xmlns:a16="http://schemas.microsoft.com/office/drawing/2014/main" xmlns="" id="{F7EE7E85-4213-4B63-803C-47C2EF03D2E1}"/>
                </a:ext>
              </a:extLst>
            </p:cNvPr>
            <p:cNvSpPr/>
            <p:nvPr/>
          </p:nvSpPr>
          <p:spPr>
            <a:xfrm>
              <a:off x="3719749" y="3709287"/>
              <a:ext cx="626948" cy="626948"/>
            </a:xfrm>
            <a:custGeom>
              <a:avLst/>
              <a:gdLst>
                <a:gd name="connsiteX0" fmla="*/ 313768 w 626947"/>
                <a:gd name="connsiteY0" fmla="*/ 627533 h 626947"/>
                <a:gd name="connsiteX1" fmla="*/ 627535 w 626947"/>
                <a:gd name="connsiteY1" fmla="*/ 313766 h 626947"/>
                <a:gd name="connsiteX2" fmla="*/ 590840 w 626947"/>
                <a:gd name="connsiteY2" fmla="*/ 166332 h 626947"/>
                <a:gd name="connsiteX3" fmla="*/ 583076 w 626947"/>
                <a:gd name="connsiteY3" fmla="*/ 166844 h 626947"/>
                <a:gd name="connsiteX4" fmla="*/ 578536 w 626947"/>
                <a:gd name="connsiteY4" fmla="*/ 166698 h 626947"/>
                <a:gd name="connsiteX5" fmla="*/ 538619 w 626947"/>
                <a:gd name="connsiteY5" fmla="*/ 163622 h 626947"/>
                <a:gd name="connsiteX6" fmla="*/ 509908 w 626947"/>
                <a:gd name="connsiteY6" fmla="*/ 192332 h 626947"/>
                <a:gd name="connsiteX7" fmla="*/ 544478 w 626947"/>
                <a:gd name="connsiteY7" fmla="*/ 313766 h 626947"/>
                <a:gd name="connsiteX8" fmla="*/ 313840 w 626947"/>
                <a:gd name="connsiteY8" fmla="*/ 544404 h 626947"/>
                <a:gd name="connsiteX9" fmla="*/ 83129 w 626947"/>
                <a:gd name="connsiteY9" fmla="*/ 313766 h 626947"/>
                <a:gd name="connsiteX10" fmla="*/ 313767 w 626947"/>
                <a:gd name="connsiteY10" fmla="*/ 83129 h 626947"/>
                <a:gd name="connsiteX11" fmla="*/ 435201 w 626947"/>
                <a:gd name="connsiteY11" fmla="*/ 117699 h 626947"/>
                <a:gd name="connsiteX12" fmla="*/ 461201 w 626947"/>
                <a:gd name="connsiteY12" fmla="*/ 91698 h 626947"/>
                <a:gd name="connsiteX13" fmla="*/ 457686 w 626947"/>
                <a:gd name="connsiteY13" fmla="*/ 45922 h 626947"/>
                <a:gd name="connsiteX14" fmla="*/ 457832 w 626947"/>
                <a:gd name="connsiteY14" fmla="*/ 35009 h 626947"/>
                <a:gd name="connsiteX15" fmla="*/ 313694 w 626947"/>
                <a:gd name="connsiteY15" fmla="*/ 0 h 626947"/>
                <a:gd name="connsiteX16" fmla="*/ 0 w 626947"/>
                <a:gd name="connsiteY16" fmla="*/ 313766 h 626947"/>
                <a:gd name="connsiteX17" fmla="*/ 313768 w 626947"/>
                <a:gd name="connsiteY17" fmla="*/ 627533 h 626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26947" h="626947">
                  <a:moveTo>
                    <a:pt x="313768" y="627533"/>
                  </a:moveTo>
                  <a:cubicBezTo>
                    <a:pt x="487057" y="627533"/>
                    <a:pt x="627535" y="487055"/>
                    <a:pt x="627535" y="313766"/>
                  </a:cubicBezTo>
                  <a:cubicBezTo>
                    <a:pt x="627535" y="260447"/>
                    <a:pt x="614277" y="210277"/>
                    <a:pt x="590840" y="166332"/>
                  </a:cubicBezTo>
                  <a:cubicBezTo>
                    <a:pt x="588276" y="166698"/>
                    <a:pt x="585640" y="166844"/>
                    <a:pt x="583076" y="166844"/>
                  </a:cubicBezTo>
                  <a:cubicBezTo>
                    <a:pt x="581611" y="166844"/>
                    <a:pt x="580073" y="166771"/>
                    <a:pt x="578536" y="166698"/>
                  </a:cubicBezTo>
                  <a:lnTo>
                    <a:pt x="538619" y="163622"/>
                  </a:lnTo>
                  <a:lnTo>
                    <a:pt x="509908" y="192332"/>
                  </a:lnTo>
                  <a:cubicBezTo>
                    <a:pt x="531807" y="227635"/>
                    <a:pt x="544478" y="269236"/>
                    <a:pt x="544478" y="313766"/>
                  </a:cubicBezTo>
                  <a:cubicBezTo>
                    <a:pt x="544478" y="441133"/>
                    <a:pt x="441208" y="544404"/>
                    <a:pt x="313840" y="544404"/>
                  </a:cubicBezTo>
                  <a:cubicBezTo>
                    <a:pt x="186474" y="544404"/>
                    <a:pt x="83129" y="441133"/>
                    <a:pt x="83129" y="313766"/>
                  </a:cubicBezTo>
                  <a:cubicBezTo>
                    <a:pt x="83129" y="186400"/>
                    <a:pt x="186400" y="83129"/>
                    <a:pt x="313767" y="83129"/>
                  </a:cubicBezTo>
                  <a:cubicBezTo>
                    <a:pt x="358372" y="83129"/>
                    <a:pt x="399972" y="95800"/>
                    <a:pt x="435201" y="117699"/>
                  </a:cubicBezTo>
                  <a:lnTo>
                    <a:pt x="461201" y="91698"/>
                  </a:lnTo>
                  <a:lnTo>
                    <a:pt x="457686" y="45922"/>
                  </a:lnTo>
                  <a:cubicBezTo>
                    <a:pt x="457394" y="42260"/>
                    <a:pt x="457466" y="38598"/>
                    <a:pt x="457832" y="35009"/>
                  </a:cubicBezTo>
                  <a:cubicBezTo>
                    <a:pt x="414693" y="12671"/>
                    <a:pt x="365695" y="0"/>
                    <a:pt x="313694" y="0"/>
                  </a:cubicBezTo>
                  <a:cubicBezTo>
                    <a:pt x="140477" y="0"/>
                    <a:pt x="0" y="140477"/>
                    <a:pt x="0" y="313766"/>
                  </a:cubicBezTo>
                  <a:cubicBezTo>
                    <a:pt x="0" y="487055"/>
                    <a:pt x="140478" y="627533"/>
                    <a:pt x="313768" y="627533"/>
                  </a:cubicBezTo>
                  <a:close/>
                </a:path>
              </a:pathLst>
            </a:custGeom>
            <a:grpFill/>
            <a:ln w="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" name="Freihandform: Form 35">
              <a:extLst>
                <a:ext uri="{FF2B5EF4-FFF2-40B4-BE49-F238E27FC236}">
                  <a16:creationId xmlns:a16="http://schemas.microsoft.com/office/drawing/2014/main" xmlns="" id="{7531B773-0D64-4CE1-A581-C50654768FCB}"/>
                </a:ext>
              </a:extLst>
            </p:cNvPr>
            <p:cNvSpPr/>
            <p:nvPr/>
          </p:nvSpPr>
          <p:spPr>
            <a:xfrm>
              <a:off x="3879049" y="3868514"/>
              <a:ext cx="308347" cy="308347"/>
            </a:xfrm>
            <a:custGeom>
              <a:avLst/>
              <a:gdLst>
                <a:gd name="connsiteX0" fmla="*/ 154467 w 308346"/>
                <a:gd name="connsiteY0" fmla="*/ 73461 h 308346"/>
                <a:gd name="connsiteX1" fmla="*/ 160619 w 308346"/>
                <a:gd name="connsiteY1" fmla="*/ 73681 h 308346"/>
                <a:gd name="connsiteX2" fmla="*/ 218554 w 308346"/>
                <a:gd name="connsiteY2" fmla="*/ 15747 h 308346"/>
                <a:gd name="connsiteX3" fmla="*/ 219798 w 308346"/>
                <a:gd name="connsiteY3" fmla="*/ 14502 h 308346"/>
                <a:gd name="connsiteX4" fmla="*/ 154466 w 308346"/>
                <a:gd name="connsiteY4" fmla="*/ 0 h 308346"/>
                <a:gd name="connsiteX5" fmla="*/ 0 w 308346"/>
                <a:gd name="connsiteY5" fmla="*/ 154466 h 308346"/>
                <a:gd name="connsiteX6" fmla="*/ 154466 w 308346"/>
                <a:gd name="connsiteY6" fmla="*/ 309006 h 308346"/>
                <a:gd name="connsiteX7" fmla="*/ 308934 w 308346"/>
                <a:gd name="connsiteY7" fmla="*/ 154540 h 308346"/>
                <a:gd name="connsiteX8" fmla="*/ 294431 w 308346"/>
                <a:gd name="connsiteY8" fmla="*/ 89208 h 308346"/>
                <a:gd name="connsiteX9" fmla="*/ 293187 w 308346"/>
                <a:gd name="connsiteY9" fmla="*/ 90453 h 308346"/>
                <a:gd name="connsiteX10" fmla="*/ 235251 w 308346"/>
                <a:gd name="connsiteY10" fmla="*/ 148387 h 308346"/>
                <a:gd name="connsiteX11" fmla="*/ 235472 w 308346"/>
                <a:gd name="connsiteY11" fmla="*/ 154539 h 308346"/>
                <a:gd name="connsiteX12" fmla="*/ 154393 w 308346"/>
                <a:gd name="connsiteY12" fmla="*/ 235618 h 308346"/>
                <a:gd name="connsiteX13" fmla="*/ 73387 w 308346"/>
                <a:gd name="connsiteY13" fmla="*/ 154539 h 308346"/>
                <a:gd name="connsiteX14" fmla="*/ 154467 w 308346"/>
                <a:gd name="connsiteY14" fmla="*/ 73461 h 30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8346" h="308346">
                  <a:moveTo>
                    <a:pt x="154467" y="73461"/>
                  </a:moveTo>
                  <a:cubicBezTo>
                    <a:pt x="156518" y="73461"/>
                    <a:pt x="158569" y="73535"/>
                    <a:pt x="160619" y="73681"/>
                  </a:cubicBezTo>
                  <a:lnTo>
                    <a:pt x="218554" y="15747"/>
                  </a:lnTo>
                  <a:lnTo>
                    <a:pt x="219798" y="14502"/>
                  </a:lnTo>
                  <a:cubicBezTo>
                    <a:pt x="199949" y="5200"/>
                    <a:pt x="177831" y="0"/>
                    <a:pt x="154466" y="0"/>
                  </a:cubicBezTo>
                  <a:cubicBezTo>
                    <a:pt x="69140" y="0"/>
                    <a:pt x="0" y="69140"/>
                    <a:pt x="0" y="154466"/>
                  </a:cubicBezTo>
                  <a:cubicBezTo>
                    <a:pt x="0" y="239793"/>
                    <a:pt x="69140" y="309006"/>
                    <a:pt x="154466" y="309006"/>
                  </a:cubicBezTo>
                  <a:cubicBezTo>
                    <a:pt x="239793" y="309006"/>
                    <a:pt x="308934" y="239866"/>
                    <a:pt x="308934" y="154540"/>
                  </a:cubicBezTo>
                  <a:cubicBezTo>
                    <a:pt x="308934" y="131176"/>
                    <a:pt x="303732" y="109057"/>
                    <a:pt x="294431" y="89208"/>
                  </a:cubicBezTo>
                  <a:lnTo>
                    <a:pt x="293187" y="90453"/>
                  </a:lnTo>
                  <a:lnTo>
                    <a:pt x="235251" y="148387"/>
                  </a:lnTo>
                  <a:cubicBezTo>
                    <a:pt x="235398" y="150438"/>
                    <a:pt x="235472" y="152490"/>
                    <a:pt x="235472" y="154539"/>
                  </a:cubicBezTo>
                  <a:cubicBezTo>
                    <a:pt x="235472" y="199290"/>
                    <a:pt x="199217" y="235618"/>
                    <a:pt x="154393" y="235618"/>
                  </a:cubicBezTo>
                  <a:cubicBezTo>
                    <a:pt x="109569" y="235618"/>
                    <a:pt x="73387" y="199289"/>
                    <a:pt x="73387" y="154539"/>
                  </a:cubicBezTo>
                  <a:cubicBezTo>
                    <a:pt x="73389" y="109789"/>
                    <a:pt x="109717" y="73461"/>
                    <a:pt x="154467" y="73461"/>
                  </a:cubicBezTo>
                  <a:close/>
                </a:path>
              </a:pathLst>
            </a:custGeom>
            <a:grpFill/>
            <a:ln w="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" name="Freihandform: Form 62">
              <a:extLst>
                <a:ext uri="{FF2B5EF4-FFF2-40B4-BE49-F238E27FC236}">
                  <a16:creationId xmlns:a16="http://schemas.microsoft.com/office/drawing/2014/main" xmlns="" id="{7E76AE02-E0F7-4313-B057-C49E87C1C099}"/>
                </a:ext>
              </a:extLst>
            </p:cNvPr>
            <p:cNvSpPr/>
            <p:nvPr/>
          </p:nvSpPr>
          <p:spPr>
            <a:xfrm>
              <a:off x="4034406" y="3638828"/>
              <a:ext cx="380124" cy="382321"/>
            </a:xfrm>
            <a:custGeom>
              <a:avLst/>
              <a:gdLst>
                <a:gd name="connsiteX0" fmla="*/ 322472 w 380123"/>
                <a:gd name="connsiteY0" fmla="*/ 104442 h 382320"/>
                <a:gd name="connsiteX1" fmla="*/ 341075 w 380123"/>
                <a:gd name="connsiteY1" fmla="*/ 85839 h 382320"/>
                <a:gd name="connsiteX2" fmla="*/ 341075 w 380123"/>
                <a:gd name="connsiteY2" fmla="*/ 55151 h 382320"/>
                <a:gd name="connsiteX3" fmla="*/ 328183 w 380123"/>
                <a:gd name="connsiteY3" fmla="*/ 42187 h 382320"/>
                <a:gd name="connsiteX4" fmla="*/ 312877 w 380123"/>
                <a:gd name="connsiteY4" fmla="*/ 35815 h 382320"/>
                <a:gd name="connsiteX5" fmla="*/ 297570 w 380123"/>
                <a:gd name="connsiteY5" fmla="*/ 42187 h 382320"/>
                <a:gd name="connsiteX6" fmla="*/ 276256 w 380123"/>
                <a:gd name="connsiteY6" fmla="*/ 63500 h 382320"/>
                <a:gd name="connsiteX7" fmla="*/ 271862 w 380123"/>
                <a:gd name="connsiteY7" fmla="*/ 6738 h 382320"/>
                <a:gd name="connsiteX8" fmla="*/ 264538 w 380123"/>
                <a:gd name="connsiteY8" fmla="*/ 0 h 382320"/>
                <a:gd name="connsiteX9" fmla="*/ 259411 w 380123"/>
                <a:gd name="connsiteY9" fmla="*/ 2124 h 382320"/>
                <a:gd name="connsiteX10" fmla="*/ 175549 w 380123"/>
                <a:gd name="connsiteY10" fmla="*/ 85986 h 382320"/>
                <a:gd name="connsiteX11" fmla="*/ 164929 w 380123"/>
                <a:gd name="connsiteY11" fmla="*/ 114696 h 382320"/>
                <a:gd name="connsiteX12" fmla="*/ 165148 w 380123"/>
                <a:gd name="connsiteY12" fmla="*/ 117992 h 382320"/>
                <a:gd name="connsiteX13" fmla="*/ 169177 w 380123"/>
                <a:gd name="connsiteY13" fmla="*/ 170506 h 382320"/>
                <a:gd name="connsiteX14" fmla="*/ 138855 w 380123"/>
                <a:gd name="connsiteY14" fmla="*/ 200828 h 382320"/>
                <a:gd name="connsiteX15" fmla="*/ 84290 w 380123"/>
                <a:gd name="connsiteY15" fmla="*/ 255393 h 382320"/>
                <a:gd name="connsiteX16" fmla="*/ 83045 w 380123"/>
                <a:gd name="connsiteY16" fmla="*/ 256638 h 382320"/>
                <a:gd name="connsiteX17" fmla="*/ 30238 w 380123"/>
                <a:gd name="connsiteY17" fmla="*/ 309446 h 382320"/>
                <a:gd name="connsiteX18" fmla="*/ 6801 w 380123"/>
                <a:gd name="connsiteY18" fmla="*/ 332884 h 382320"/>
                <a:gd name="connsiteX19" fmla="*/ 1527 w 380123"/>
                <a:gd name="connsiteY19" fmla="*/ 344382 h 382320"/>
                <a:gd name="connsiteX20" fmla="*/ 63 w 380123"/>
                <a:gd name="connsiteY20" fmla="*/ 362766 h 382320"/>
                <a:gd name="connsiteX21" fmla="*/ 18300 w 380123"/>
                <a:gd name="connsiteY21" fmla="*/ 382541 h 382320"/>
                <a:gd name="connsiteX22" fmla="*/ 19252 w 380123"/>
                <a:gd name="connsiteY22" fmla="*/ 382541 h 382320"/>
                <a:gd name="connsiteX23" fmla="*/ 38661 w 380123"/>
                <a:gd name="connsiteY23" fmla="*/ 381589 h 382320"/>
                <a:gd name="connsiteX24" fmla="*/ 50672 w 380123"/>
                <a:gd name="connsiteY24" fmla="*/ 376241 h 382320"/>
                <a:gd name="connsiteX25" fmla="*/ 73890 w 380123"/>
                <a:gd name="connsiteY25" fmla="*/ 353024 h 382320"/>
                <a:gd name="connsiteX26" fmla="*/ 126697 w 380123"/>
                <a:gd name="connsiteY26" fmla="*/ 300217 h 382320"/>
                <a:gd name="connsiteX27" fmla="*/ 127943 w 380123"/>
                <a:gd name="connsiteY27" fmla="*/ 298972 h 382320"/>
                <a:gd name="connsiteX28" fmla="*/ 182508 w 380123"/>
                <a:gd name="connsiteY28" fmla="*/ 244407 h 382320"/>
                <a:gd name="connsiteX29" fmla="*/ 215467 w 380123"/>
                <a:gd name="connsiteY29" fmla="*/ 211448 h 382320"/>
                <a:gd name="connsiteX30" fmla="*/ 263365 w 380123"/>
                <a:gd name="connsiteY30" fmla="*/ 215110 h 382320"/>
                <a:gd name="connsiteX31" fmla="*/ 265489 w 380123"/>
                <a:gd name="connsiteY31" fmla="*/ 215257 h 382320"/>
                <a:gd name="connsiteX32" fmla="*/ 268273 w 380123"/>
                <a:gd name="connsiteY32" fmla="*/ 215330 h 382320"/>
                <a:gd name="connsiteX33" fmla="*/ 294201 w 380123"/>
                <a:gd name="connsiteY33" fmla="*/ 204637 h 382320"/>
                <a:gd name="connsiteX34" fmla="*/ 377988 w 380123"/>
                <a:gd name="connsiteY34" fmla="*/ 120849 h 382320"/>
                <a:gd name="connsiteX35" fmla="*/ 373375 w 380123"/>
                <a:gd name="connsiteY35" fmla="*/ 108398 h 382320"/>
                <a:gd name="connsiteX36" fmla="*/ 322472 w 380123"/>
                <a:gd name="connsiteY36" fmla="*/ 104442 h 382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80123" h="382320">
                  <a:moveTo>
                    <a:pt x="322472" y="104442"/>
                  </a:moveTo>
                  <a:lnTo>
                    <a:pt x="341075" y="85839"/>
                  </a:lnTo>
                  <a:cubicBezTo>
                    <a:pt x="349571" y="77343"/>
                    <a:pt x="349571" y="63647"/>
                    <a:pt x="341075" y="55151"/>
                  </a:cubicBezTo>
                  <a:lnTo>
                    <a:pt x="328183" y="42187"/>
                  </a:lnTo>
                  <a:cubicBezTo>
                    <a:pt x="323936" y="37939"/>
                    <a:pt x="318370" y="35815"/>
                    <a:pt x="312877" y="35815"/>
                  </a:cubicBezTo>
                  <a:cubicBezTo>
                    <a:pt x="307384" y="35815"/>
                    <a:pt x="301744" y="37939"/>
                    <a:pt x="297570" y="42187"/>
                  </a:cubicBezTo>
                  <a:lnTo>
                    <a:pt x="276256" y="63500"/>
                  </a:lnTo>
                  <a:lnTo>
                    <a:pt x="271862" y="6738"/>
                  </a:lnTo>
                  <a:cubicBezTo>
                    <a:pt x="271569" y="2563"/>
                    <a:pt x="268125" y="0"/>
                    <a:pt x="264538" y="0"/>
                  </a:cubicBezTo>
                  <a:cubicBezTo>
                    <a:pt x="262707" y="0"/>
                    <a:pt x="260876" y="659"/>
                    <a:pt x="259411" y="2124"/>
                  </a:cubicBezTo>
                  <a:lnTo>
                    <a:pt x="175549" y="85986"/>
                  </a:lnTo>
                  <a:cubicBezTo>
                    <a:pt x="168005" y="93529"/>
                    <a:pt x="164122" y="104003"/>
                    <a:pt x="164929" y="114696"/>
                  </a:cubicBezTo>
                  <a:lnTo>
                    <a:pt x="165148" y="117992"/>
                  </a:lnTo>
                  <a:lnTo>
                    <a:pt x="169177" y="170506"/>
                  </a:lnTo>
                  <a:lnTo>
                    <a:pt x="138855" y="200828"/>
                  </a:lnTo>
                  <a:lnTo>
                    <a:pt x="84290" y="255393"/>
                  </a:lnTo>
                  <a:lnTo>
                    <a:pt x="83045" y="256638"/>
                  </a:lnTo>
                  <a:lnTo>
                    <a:pt x="30238" y="309446"/>
                  </a:lnTo>
                  <a:lnTo>
                    <a:pt x="6801" y="332884"/>
                  </a:lnTo>
                  <a:cubicBezTo>
                    <a:pt x="3725" y="335959"/>
                    <a:pt x="1820" y="340061"/>
                    <a:pt x="1527" y="344382"/>
                  </a:cubicBezTo>
                  <a:lnTo>
                    <a:pt x="63" y="362766"/>
                  </a:lnTo>
                  <a:cubicBezTo>
                    <a:pt x="-816" y="373459"/>
                    <a:pt x="7680" y="382541"/>
                    <a:pt x="18300" y="382541"/>
                  </a:cubicBezTo>
                  <a:cubicBezTo>
                    <a:pt x="18592" y="382541"/>
                    <a:pt x="18886" y="382541"/>
                    <a:pt x="19252" y="382541"/>
                  </a:cubicBezTo>
                  <a:lnTo>
                    <a:pt x="38661" y="381589"/>
                  </a:lnTo>
                  <a:cubicBezTo>
                    <a:pt x="43201" y="381368"/>
                    <a:pt x="47523" y="379464"/>
                    <a:pt x="50672" y="376241"/>
                  </a:cubicBezTo>
                  <a:lnTo>
                    <a:pt x="73890" y="353024"/>
                  </a:lnTo>
                  <a:lnTo>
                    <a:pt x="126697" y="300217"/>
                  </a:lnTo>
                  <a:lnTo>
                    <a:pt x="127943" y="298972"/>
                  </a:lnTo>
                  <a:lnTo>
                    <a:pt x="182508" y="244407"/>
                  </a:lnTo>
                  <a:lnTo>
                    <a:pt x="215467" y="211448"/>
                  </a:lnTo>
                  <a:lnTo>
                    <a:pt x="263365" y="215110"/>
                  </a:lnTo>
                  <a:lnTo>
                    <a:pt x="265489" y="215257"/>
                  </a:lnTo>
                  <a:cubicBezTo>
                    <a:pt x="266442" y="215330"/>
                    <a:pt x="267394" y="215330"/>
                    <a:pt x="268273" y="215330"/>
                  </a:cubicBezTo>
                  <a:cubicBezTo>
                    <a:pt x="277940" y="215330"/>
                    <a:pt x="287243" y="211522"/>
                    <a:pt x="294201" y="204637"/>
                  </a:cubicBezTo>
                  <a:lnTo>
                    <a:pt x="377988" y="120849"/>
                  </a:lnTo>
                  <a:cubicBezTo>
                    <a:pt x="382383" y="116454"/>
                    <a:pt x="379600" y="108837"/>
                    <a:pt x="373375" y="108398"/>
                  </a:cubicBezTo>
                  <a:lnTo>
                    <a:pt x="322472" y="104442"/>
                  </a:lnTo>
                  <a:close/>
                </a:path>
              </a:pathLst>
            </a:custGeom>
            <a:grpFill/>
            <a:ln w="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10" name="Grafik 12">
            <a:extLst>
              <a:ext uri="{FF2B5EF4-FFF2-40B4-BE49-F238E27FC236}">
                <a16:creationId xmlns:a16="http://schemas.microsoft.com/office/drawing/2014/main" xmlns="" id="{25EEDB8A-D0CA-4D52-8BC7-50B19871D17E}"/>
              </a:ext>
            </a:extLst>
          </p:cNvPr>
          <p:cNvGrpSpPr/>
          <p:nvPr/>
        </p:nvGrpSpPr>
        <p:grpSpPr>
          <a:xfrm>
            <a:off x="334963" y="5716653"/>
            <a:ext cx="358675" cy="467223"/>
            <a:chOff x="890206" y="3333180"/>
            <a:chExt cx="329045" cy="428625"/>
          </a:xfrm>
          <a:solidFill>
            <a:schemeClr val="tx1"/>
          </a:solidFill>
        </p:grpSpPr>
        <p:sp>
          <p:nvSpPr>
            <p:cNvPr id="111" name="Freihandform: Form 44">
              <a:extLst>
                <a:ext uri="{FF2B5EF4-FFF2-40B4-BE49-F238E27FC236}">
                  <a16:creationId xmlns:a16="http://schemas.microsoft.com/office/drawing/2014/main" xmlns="" id="{0848CE5F-E222-4438-B42F-F74244153C93}"/>
                </a:ext>
              </a:extLst>
            </p:cNvPr>
            <p:cNvSpPr/>
            <p:nvPr/>
          </p:nvSpPr>
          <p:spPr>
            <a:xfrm>
              <a:off x="970421" y="3333180"/>
              <a:ext cx="168852" cy="168852"/>
            </a:xfrm>
            <a:custGeom>
              <a:avLst/>
              <a:gdLst>
                <a:gd name="connsiteX0" fmla="*/ 84582 w 168852"/>
                <a:gd name="connsiteY0" fmla="*/ 169164 h 168852"/>
                <a:gd name="connsiteX1" fmla="*/ 169164 w 168852"/>
                <a:gd name="connsiteY1" fmla="*/ 84582 h 168852"/>
                <a:gd name="connsiteX2" fmla="*/ 84582 w 168852"/>
                <a:gd name="connsiteY2" fmla="*/ 0 h 168852"/>
                <a:gd name="connsiteX3" fmla="*/ 0 w 168852"/>
                <a:gd name="connsiteY3" fmla="*/ 84582 h 168852"/>
                <a:gd name="connsiteX4" fmla="*/ 84582 w 168852"/>
                <a:gd name="connsiteY4" fmla="*/ 169164 h 168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852" h="168852">
                  <a:moveTo>
                    <a:pt x="84582" y="169164"/>
                  </a:moveTo>
                  <a:cubicBezTo>
                    <a:pt x="131221" y="169164"/>
                    <a:pt x="169164" y="131221"/>
                    <a:pt x="169164" y="84582"/>
                  </a:cubicBezTo>
                  <a:cubicBezTo>
                    <a:pt x="169164" y="37943"/>
                    <a:pt x="131221" y="0"/>
                    <a:pt x="84582" y="0"/>
                  </a:cubicBezTo>
                  <a:cubicBezTo>
                    <a:pt x="37943" y="0"/>
                    <a:pt x="0" y="37943"/>
                    <a:pt x="0" y="84582"/>
                  </a:cubicBezTo>
                  <a:cubicBezTo>
                    <a:pt x="0" y="131221"/>
                    <a:pt x="37943" y="169164"/>
                    <a:pt x="84582" y="169164"/>
                  </a:cubicBezTo>
                  <a:close/>
                </a:path>
              </a:pathLst>
            </a:custGeom>
            <a:grpFill/>
            <a:ln w="14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2" name="Freihandform: Form 45">
              <a:extLst>
                <a:ext uri="{FF2B5EF4-FFF2-40B4-BE49-F238E27FC236}">
                  <a16:creationId xmlns:a16="http://schemas.microsoft.com/office/drawing/2014/main" xmlns="" id="{5747D593-68F2-45BF-BF0B-1449C88BD354}"/>
                </a:ext>
              </a:extLst>
            </p:cNvPr>
            <p:cNvSpPr/>
            <p:nvPr/>
          </p:nvSpPr>
          <p:spPr>
            <a:xfrm>
              <a:off x="890206" y="3535544"/>
              <a:ext cx="329045" cy="225136"/>
            </a:xfrm>
            <a:custGeom>
              <a:avLst/>
              <a:gdLst>
                <a:gd name="connsiteX0" fmla="*/ 278295 w 329045"/>
                <a:gd name="connsiteY0" fmla="*/ 7789 h 225136"/>
                <a:gd name="connsiteX1" fmla="*/ 278153 w 329045"/>
                <a:gd name="connsiteY1" fmla="*/ 7743 h 225136"/>
                <a:gd name="connsiteX2" fmla="*/ 233416 w 329045"/>
                <a:gd name="connsiteY2" fmla="*/ 335 h 225136"/>
                <a:gd name="connsiteX3" fmla="*/ 224171 w 329045"/>
                <a:gd name="connsiteY3" fmla="*/ 4936 h 225136"/>
                <a:gd name="connsiteX4" fmla="*/ 173408 w 329045"/>
                <a:gd name="connsiteY4" fmla="*/ 144216 h 225136"/>
                <a:gd name="connsiteX5" fmla="*/ 156188 w 329045"/>
                <a:gd name="connsiteY5" fmla="*/ 144216 h 225136"/>
                <a:gd name="connsiteX6" fmla="*/ 105426 w 329045"/>
                <a:gd name="connsiteY6" fmla="*/ 4936 h 225136"/>
                <a:gd name="connsiteX7" fmla="*/ 98389 w 329045"/>
                <a:gd name="connsiteY7" fmla="*/ 0 h 225136"/>
                <a:gd name="connsiteX8" fmla="*/ 51442 w 329045"/>
                <a:gd name="connsiteY8" fmla="*/ 7733 h 225136"/>
                <a:gd name="connsiteX9" fmla="*/ 0 w 329045"/>
                <a:gd name="connsiteY9" fmla="*/ 78923 h 225136"/>
                <a:gd name="connsiteX10" fmla="*/ 0 w 329045"/>
                <a:gd name="connsiteY10" fmla="*/ 194814 h 225136"/>
                <a:gd name="connsiteX11" fmla="*/ 31447 w 329045"/>
                <a:gd name="connsiteY11" fmla="*/ 226261 h 225136"/>
                <a:gd name="connsiteX12" fmla="*/ 298121 w 329045"/>
                <a:gd name="connsiteY12" fmla="*/ 226261 h 225136"/>
                <a:gd name="connsiteX13" fmla="*/ 329568 w 329045"/>
                <a:gd name="connsiteY13" fmla="*/ 194814 h 225136"/>
                <a:gd name="connsiteX14" fmla="*/ 329568 w 329045"/>
                <a:gd name="connsiteY14" fmla="*/ 78538 h 225136"/>
                <a:gd name="connsiteX15" fmla="*/ 278295 w 329045"/>
                <a:gd name="connsiteY15" fmla="*/ 7789 h 22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9045" h="225136">
                  <a:moveTo>
                    <a:pt x="278295" y="7789"/>
                  </a:moveTo>
                  <a:cubicBezTo>
                    <a:pt x="278258" y="7777"/>
                    <a:pt x="278189" y="7751"/>
                    <a:pt x="278153" y="7743"/>
                  </a:cubicBezTo>
                  <a:cubicBezTo>
                    <a:pt x="267140" y="5053"/>
                    <a:pt x="233416" y="335"/>
                    <a:pt x="233416" y="335"/>
                  </a:cubicBezTo>
                  <a:cubicBezTo>
                    <a:pt x="229609" y="-837"/>
                    <a:pt x="225540" y="1179"/>
                    <a:pt x="224171" y="4936"/>
                  </a:cubicBezTo>
                  <a:lnTo>
                    <a:pt x="173408" y="144216"/>
                  </a:lnTo>
                  <a:cubicBezTo>
                    <a:pt x="170480" y="152250"/>
                    <a:pt x="159117" y="152250"/>
                    <a:pt x="156188" y="144216"/>
                  </a:cubicBezTo>
                  <a:lnTo>
                    <a:pt x="105426" y="4936"/>
                  </a:lnTo>
                  <a:cubicBezTo>
                    <a:pt x="104320" y="1902"/>
                    <a:pt x="101457" y="0"/>
                    <a:pt x="98389" y="0"/>
                  </a:cubicBezTo>
                  <a:cubicBezTo>
                    <a:pt x="97662" y="0"/>
                    <a:pt x="62986" y="4862"/>
                    <a:pt x="51442" y="7733"/>
                  </a:cubicBezTo>
                  <a:cubicBezTo>
                    <a:pt x="19897" y="15576"/>
                    <a:pt x="0" y="46596"/>
                    <a:pt x="0" y="78923"/>
                  </a:cubicBezTo>
                  <a:lnTo>
                    <a:pt x="0" y="194814"/>
                  </a:lnTo>
                  <a:cubicBezTo>
                    <a:pt x="0" y="212181"/>
                    <a:pt x="14080" y="226261"/>
                    <a:pt x="31447" y="226261"/>
                  </a:cubicBezTo>
                  <a:lnTo>
                    <a:pt x="298121" y="226261"/>
                  </a:lnTo>
                  <a:cubicBezTo>
                    <a:pt x="315488" y="226261"/>
                    <a:pt x="329568" y="212181"/>
                    <a:pt x="329568" y="194814"/>
                  </a:cubicBezTo>
                  <a:lnTo>
                    <a:pt x="329568" y="78538"/>
                  </a:lnTo>
                  <a:cubicBezTo>
                    <a:pt x="329566" y="46351"/>
                    <a:pt x="308890" y="17786"/>
                    <a:pt x="278295" y="7789"/>
                  </a:cubicBezTo>
                  <a:close/>
                </a:path>
              </a:pathLst>
            </a:custGeom>
            <a:grpFill/>
            <a:ln w="14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3" name="Freihandform: Form 46">
              <a:extLst>
                <a:ext uri="{FF2B5EF4-FFF2-40B4-BE49-F238E27FC236}">
                  <a16:creationId xmlns:a16="http://schemas.microsoft.com/office/drawing/2014/main" xmlns="" id="{9EB191B7-8F9D-4BD4-8B9A-3D4E2D8B7D16}"/>
                </a:ext>
              </a:extLst>
            </p:cNvPr>
            <p:cNvSpPr/>
            <p:nvPr/>
          </p:nvSpPr>
          <p:spPr>
            <a:xfrm>
              <a:off x="1033080" y="3529906"/>
              <a:ext cx="43295" cy="111125"/>
            </a:xfrm>
            <a:custGeom>
              <a:avLst/>
              <a:gdLst>
                <a:gd name="connsiteX0" fmla="*/ 41067 w 43295"/>
                <a:gd name="connsiteY0" fmla="*/ 3318 h 111125"/>
                <a:gd name="connsiteX1" fmla="*/ 33083 w 43295"/>
                <a:gd name="connsiteY1" fmla="*/ 0 h 111125"/>
                <a:gd name="connsiteX2" fmla="*/ 10735 w 43295"/>
                <a:gd name="connsiteY2" fmla="*/ 0 h 111125"/>
                <a:gd name="connsiteX3" fmla="*/ 2752 w 43295"/>
                <a:gd name="connsiteY3" fmla="*/ 3318 h 111125"/>
                <a:gd name="connsiteX4" fmla="*/ 1386 w 43295"/>
                <a:gd name="connsiteY4" fmla="*/ 15530 h 111125"/>
                <a:gd name="connsiteX5" fmla="*/ 13333 w 43295"/>
                <a:gd name="connsiteY5" fmla="*/ 33540 h 111125"/>
                <a:gd name="connsiteX6" fmla="*/ 7741 w 43295"/>
                <a:gd name="connsiteY6" fmla="*/ 80717 h 111125"/>
                <a:gd name="connsiteX7" fmla="*/ 18754 w 43295"/>
                <a:gd name="connsiteY7" fmla="*/ 110014 h 111125"/>
                <a:gd name="connsiteX8" fmla="*/ 25068 w 43295"/>
                <a:gd name="connsiteY8" fmla="*/ 110014 h 111125"/>
                <a:gd name="connsiteX9" fmla="*/ 36081 w 43295"/>
                <a:gd name="connsiteY9" fmla="*/ 80717 h 111125"/>
                <a:gd name="connsiteX10" fmla="*/ 30488 w 43295"/>
                <a:gd name="connsiteY10" fmla="*/ 33540 h 111125"/>
                <a:gd name="connsiteX11" fmla="*/ 42435 w 43295"/>
                <a:gd name="connsiteY11" fmla="*/ 15530 h 111125"/>
                <a:gd name="connsiteX12" fmla="*/ 41067 w 43295"/>
                <a:gd name="connsiteY12" fmla="*/ 3318 h 11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3295" h="111125">
                  <a:moveTo>
                    <a:pt x="41067" y="3318"/>
                  </a:moveTo>
                  <a:cubicBezTo>
                    <a:pt x="39041" y="1110"/>
                    <a:pt x="36079" y="0"/>
                    <a:pt x="33083" y="0"/>
                  </a:cubicBezTo>
                  <a:lnTo>
                    <a:pt x="10735" y="0"/>
                  </a:lnTo>
                  <a:cubicBezTo>
                    <a:pt x="7739" y="0"/>
                    <a:pt x="4776" y="1111"/>
                    <a:pt x="2752" y="3318"/>
                  </a:cubicBezTo>
                  <a:cubicBezTo>
                    <a:pt x="-384" y="6735"/>
                    <a:pt x="-840" y="11672"/>
                    <a:pt x="1386" y="15530"/>
                  </a:cubicBezTo>
                  <a:lnTo>
                    <a:pt x="13333" y="33540"/>
                  </a:lnTo>
                  <a:lnTo>
                    <a:pt x="7741" y="80717"/>
                  </a:lnTo>
                  <a:lnTo>
                    <a:pt x="18754" y="110014"/>
                  </a:lnTo>
                  <a:cubicBezTo>
                    <a:pt x="19827" y="112961"/>
                    <a:pt x="23994" y="112961"/>
                    <a:pt x="25068" y="110014"/>
                  </a:cubicBezTo>
                  <a:lnTo>
                    <a:pt x="36081" y="80717"/>
                  </a:lnTo>
                  <a:lnTo>
                    <a:pt x="30488" y="33540"/>
                  </a:lnTo>
                  <a:lnTo>
                    <a:pt x="42435" y="15530"/>
                  </a:lnTo>
                  <a:cubicBezTo>
                    <a:pt x="44659" y="11672"/>
                    <a:pt x="44203" y="6735"/>
                    <a:pt x="41067" y="3318"/>
                  </a:cubicBezTo>
                  <a:close/>
                </a:path>
              </a:pathLst>
            </a:custGeom>
            <a:grpFill/>
            <a:ln w="14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782218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xmlns="" id="{16400B37-194D-4E23-8F65-D7650A1EFC26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t="15720" b="15720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xmlns="" id="{EF4CEDED-2DA0-42E2-9EDF-370B3A9D5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9850" y="2031829"/>
            <a:ext cx="5437188" cy="877163"/>
          </a:xfrm>
        </p:spPr>
        <p:txBody>
          <a:bodyPr/>
          <a:lstStyle/>
          <a:p>
            <a:r>
              <a:rPr lang="en-US" dirty="0"/>
              <a:t>Dialogue forum construction – structure of the project</a:t>
            </a:r>
            <a:endParaRPr lang="de-AT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9AF8F5F3-D906-4787-A71A-59631D7B4F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/>
              <a:t>Phase 1 – January 2016 – May 2017</a:t>
            </a:r>
          </a:p>
          <a:p>
            <a:pPr lvl="1"/>
            <a:r>
              <a:rPr lang="en-GB"/>
              <a:t>Kick-off Meeting</a:t>
            </a:r>
          </a:p>
          <a:p>
            <a:pPr lvl="1"/>
            <a:r>
              <a:rPr lang="en-GB"/>
              <a:t>4 SC-Meetings</a:t>
            </a:r>
          </a:p>
          <a:p>
            <a:pPr lvl="1"/>
            <a:r>
              <a:rPr lang="en-GB"/>
              <a:t>2 On-line chats</a:t>
            </a:r>
          </a:p>
          <a:p>
            <a:pPr lvl="1"/>
            <a:r>
              <a:rPr lang="en-GB"/>
              <a:t>10 Working Groups</a:t>
            </a:r>
          </a:p>
          <a:p>
            <a:pPr lvl="1"/>
            <a:r>
              <a:rPr lang="en-GB"/>
              <a:t>Final conference</a:t>
            </a:r>
          </a:p>
          <a:p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F282D50B-EE37-4E81-A1ED-8831D4F05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52F4B2ED-2105-4B26-801A-A73B1DDF4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674204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xmlns="" id="{85EA13B5-F7F2-4924-B864-0A7292918ED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t="15720" b="15720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xmlns="" id="{E00C3A84-C7F4-44D4-8EB6-B8272733E6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9850" y="2031829"/>
            <a:ext cx="5437188" cy="877163"/>
          </a:xfrm>
        </p:spPr>
        <p:txBody>
          <a:bodyPr/>
          <a:lstStyle/>
          <a:p>
            <a:r>
              <a:rPr lang="en-US" dirty="0"/>
              <a:t>Dialogue forum construction – structure of the project</a:t>
            </a:r>
            <a:endParaRPr lang="de-AT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825FBE6C-FF4D-460C-B67E-C3BB8DB7BD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Phase 2 – May 2017 – up to date</a:t>
            </a:r>
          </a:p>
          <a:p>
            <a:pPr lvl="1"/>
            <a:r>
              <a:rPr lang="en-GB" dirty="0"/>
              <a:t>Recommendations under implementation in TCs of Austrian Standards International</a:t>
            </a:r>
          </a:p>
          <a:p>
            <a:pPr lvl="1"/>
            <a:r>
              <a:rPr lang="en-GB" dirty="0"/>
              <a:t>Direct contacts and exchange with politicians on the federal and provincial level</a:t>
            </a:r>
          </a:p>
          <a:p>
            <a:pPr lvl="1"/>
            <a:r>
              <a:rPr lang="en-GB" dirty="0"/>
              <a:t>Activities for deregulation</a:t>
            </a:r>
          </a:p>
          <a:p>
            <a:pPr lvl="1"/>
            <a:r>
              <a:rPr lang="en-GB" dirty="0"/>
              <a:t>Yearly congress for construction law and standards</a:t>
            </a:r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D491F2C4-F63A-4CA1-90E5-A288DB48C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Template Austrian Standards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BCC67EEA-E222-496C-863B-5F3EDEC87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9A589-7E22-4862-9353-073804550AC0}" type="slidenum">
              <a:rPr lang="de-AT" smtClean="0"/>
              <a:pPr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586725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923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000" b="1" dirty="0" err="1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pic>
        <p:nvPicPr>
          <p:cNvPr id="167945" name="Picture 9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1" t="10139" r="4281" b="12842"/>
          <a:stretch/>
        </p:blipFill>
        <p:spPr bwMode="auto">
          <a:xfrm>
            <a:off x="0" y="3430588"/>
            <a:ext cx="6095999" cy="3427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7946" name="Picture 1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58" b="7771"/>
          <a:stretch/>
        </p:blipFill>
        <p:spPr bwMode="auto">
          <a:xfrm>
            <a:off x="6096001" y="3429000"/>
            <a:ext cx="6095999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22CBF080-A8A1-40E2-9336-90D59CFD7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9850" y="2031829"/>
            <a:ext cx="5437188" cy="877163"/>
          </a:xfrm>
        </p:spPr>
        <p:txBody>
          <a:bodyPr/>
          <a:lstStyle/>
          <a:p>
            <a:r>
              <a:rPr lang="en-US" dirty="0"/>
              <a:t>Dialogue forum construction – examples of result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xmlns="" id="{B37111C7-5FD7-4188-9D90-68050EC79A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86000" y="-8877"/>
            <a:ext cx="3810000" cy="6858000"/>
          </a:xfrm>
        </p:spPr>
        <p:txBody>
          <a:bodyPr lIns="252000"/>
          <a:lstStyle/>
          <a:p>
            <a:pPr lvl="1"/>
            <a:r>
              <a:rPr lang="en-GB" dirty="0"/>
              <a:t>53 recommendations for improvements in Austrian standards </a:t>
            </a:r>
          </a:p>
          <a:p>
            <a:pPr lvl="1"/>
            <a:r>
              <a:rPr lang="en-GB" dirty="0"/>
              <a:t>Report „</a:t>
            </a:r>
            <a:r>
              <a:rPr lang="en-GB" dirty="0" err="1"/>
              <a:t>Handlungsbedarf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Erhöhung</a:t>
            </a:r>
            <a:r>
              <a:rPr lang="en-GB" dirty="0"/>
              <a:t> der </a:t>
            </a:r>
            <a:r>
              <a:rPr lang="en-GB" dirty="0" err="1"/>
              <a:t>Rechtssicherheit</a:t>
            </a:r>
            <a:r>
              <a:rPr lang="en-GB" dirty="0"/>
              <a:t> </a:t>
            </a:r>
            <a:r>
              <a:rPr lang="en-GB" dirty="0" err="1"/>
              <a:t>im</a:t>
            </a:r>
            <a:r>
              <a:rPr lang="en-GB" dirty="0"/>
              <a:t> </a:t>
            </a:r>
            <a:r>
              <a:rPr lang="en-GB" dirty="0" err="1"/>
              <a:t>Bauwesen</a:t>
            </a:r>
            <a:r>
              <a:rPr lang="en-GB" dirty="0"/>
              <a:t>“</a:t>
            </a:r>
          </a:p>
          <a:p>
            <a:pPr lvl="1"/>
            <a:r>
              <a:rPr lang="en-GB" dirty="0"/>
              <a:t>„</a:t>
            </a:r>
            <a:r>
              <a:rPr lang="en-GB" dirty="0" err="1"/>
              <a:t>Geschäftsordnung</a:t>
            </a:r>
            <a:r>
              <a:rPr lang="en-GB" dirty="0"/>
              <a:t>“ (working procedures) of Austrian Standards International has been revised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F3FF049C-CE5C-416B-941E-D04198452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62F75-52E4-4E2C-B34F-A32CE8B1CC4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806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2d2f0e0-5bc1-456d-9402-80e78b7f466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R7RmewzwyVNeayxzE_K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n9hgF9EpYDwuqkLgGVS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QsLhuWUJEW3_a5KdcTJ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H9H8CQzxZtEhS8DWlq0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cAYFXRz09mRfSx.p0Q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kjbN6jFo56gI_xfPa_w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kjbN6jFo56gI_xfPa_w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41g1BpyEabgHyXmWxg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XXAOzIme6B6UFD7ZveS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_h1_vQeTzzuL0QdtEn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4m5P0J9u2HcFvERFOa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DIKszIfQrM3mCwkD6TqA"/>
</p:tagLst>
</file>

<file path=ppt/theme/theme1.xml><?xml version="1.0" encoding="utf-8"?>
<a:theme xmlns:a="http://schemas.openxmlformats.org/drawingml/2006/main" name="Template Austrian Standards">
  <a:themeElements>
    <a:clrScheme name="Austrian Standar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C171A"/>
      </a:accent1>
      <a:accent2>
        <a:srgbClr val="C50E1F"/>
      </a:accent2>
      <a:accent3>
        <a:srgbClr val="E95D0F"/>
      </a:accent3>
      <a:accent4>
        <a:srgbClr val="F29754"/>
      </a:accent4>
      <a:accent5>
        <a:srgbClr val="A7A8AA"/>
      </a:accent5>
      <a:accent6>
        <a:srgbClr val="D9DADB"/>
      </a:accent6>
      <a:hlink>
        <a:srgbClr val="C50E1F"/>
      </a:hlink>
      <a:folHlink>
        <a:srgbClr val="930A17"/>
      </a:folHlink>
    </a:clrScheme>
    <a:fontScheme name="Austrian Standard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 w="9525">
          <a:noFill/>
        </a:ln>
      </a:spPr>
      <a:bodyPr rtlCol="0" anchor="ctr"/>
      <a:lstStyle>
        <a:defPPr algn="ctr"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Rosa1">
      <a:srgbClr val="EB6E98"/>
    </a:custClr>
    <a:custClr name="Rosa2">
      <a:srgbClr val="BA708C"/>
    </a:custClr>
    <a:custClr name="Gelb">
      <a:srgbClr val="FAE456"/>
    </a:custClr>
    <a:custClr name="Gruen1">
      <a:srgbClr val="9FCB8C"/>
    </a:custClr>
    <a:custClr name="Gruen2">
      <a:srgbClr val="00A676"/>
    </a:custClr>
    <a:custClr name="Lila1">
      <a:srgbClr val="B1CAE6"/>
    </a:custClr>
    <a:custClr name="Lila2">
      <a:srgbClr val="8193C5"/>
    </a:custClr>
    <a:custClr name="Leer">
      <a:srgbClr val="FFFFFF"/>
    </a:custClr>
    <a:custClr name="Leer">
      <a:srgbClr val="FFFFFF"/>
    </a:custClr>
    <a:custClr name="Leer">
      <a:srgbClr val="FFFFFF"/>
    </a:custClr>
    <a:custClr name="Grau1">
      <a:srgbClr val="4B4B4D"/>
    </a:custClr>
    <a:custClr name="Grau2">
      <a:srgbClr val="646567"/>
    </a:custClr>
    <a:custClr name="Grau3">
      <a:srgbClr val="7B7C7E"/>
    </a:custClr>
    <a:custClr name="Grau4">
      <a:srgbClr val="A7A8AA"/>
    </a:custClr>
    <a:custClr name="Grau5">
      <a:srgbClr val="D9DADB"/>
    </a:custClr>
    <a:custClr name="Grau6">
      <a:srgbClr val="F6F6F6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ustrian Standards</Template>
  <TotalTime>0</TotalTime>
  <Words>469</Words>
  <Application>Microsoft Office PowerPoint</Application>
  <PresentationFormat>Широкоэкранный</PresentationFormat>
  <Paragraphs>110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7" baseType="lpstr">
      <vt:lpstr>Arial</vt:lpstr>
      <vt:lpstr>Arial Narrow</vt:lpstr>
      <vt:lpstr>Calibri</vt:lpstr>
      <vt:lpstr>Wingdings</vt:lpstr>
      <vt:lpstr>Template Austrian Standards</vt:lpstr>
      <vt:lpstr>think-cell Folie</vt:lpstr>
      <vt:lpstr>New model of participant‘s interaction –  experience from Austria –  „Dialogue forum construction“</vt:lpstr>
      <vt:lpstr>Facts &amp; Figures</vt:lpstr>
      <vt:lpstr>International Significance of Standardization</vt:lpstr>
      <vt:lpstr>Dialogue forum construction – Why?</vt:lpstr>
      <vt:lpstr>Dialogue forum construction</vt:lpstr>
      <vt:lpstr>Dialogue forum construction – 5 areas of activity</vt:lpstr>
      <vt:lpstr>Dialogue forum construction – structure of the project</vt:lpstr>
      <vt:lpstr>Dialogue forum construction – structure of the project</vt:lpstr>
      <vt:lpstr>Dialogue forum construction – examples of results</vt:lpstr>
      <vt:lpstr>Dialogue forum construction – examples of results</vt:lpstr>
      <vt:lpstr>Thank you for your atten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erri Brandstetter</dc:creator>
  <cp:lastModifiedBy>Irina E. Shilkina</cp:lastModifiedBy>
  <cp:revision>207</cp:revision>
  <dcterms:created xsi:type="dcterms:W3CDTF">2019-04-10T08:56:40Z</dcterms:created>
  <dcterms:modified xsi:type="dcterms:W3CDTF">2019-10-04T07:19:41Z</dcterms:modified>
</cp:coreProperties>
</file>